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3.xml" ContentType="application/vnd.openxmlformats-officedocument.presentationml.slide+xml"/>
  <Override PartName="/ppt/slides/slide4.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Layouts/slideLayout179.xml" ContentType="application/vnd.openxmlformats-officedocument.presentationml.slideLayout+xml"/>
  <Override PartName="/ppt/slideLayouts/slideLayout178.xml" ContentType="application/vnd.openxmlformats-officedocument.presentationml.slideLayout+xml"/>
  <Override PartName="/ppt/slideLayouts/slideLayout177.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63.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84.xml" ContentType="application/vnd.openxmlformats-officedocument.presentationml.slideLayout+xml"/>
  <Override PartName="/ppt/slideLayouts/slideLayout83.xml" ContentType="application/vnd.openxmlformats-officedocument.presentationml.slideLayout+xml"/>
  <Override PartName="/ppt/slideLayouts/slideLayout86.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44.xml" ContentType="application/vnd.openxmlformats-officedocument.presentationml.slideLayout+xml"/>
  <Override PartName="/ppt/slideLayouts/slideLayout143.xml" ContentType="application/vnd.openxmlformats-officedocument.presentationml.slideLayout+xml"/>
  <Override PartName="/ppt/slideLayouts/slideLayout142.xml" ContentType="application/vnd.openxmlformats-officedocument.presentationml.slideLayout+xml"/>
  <Override PartName="/ppt/slideLayouts/slideLayout85.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67.xml" ContentType="application/vnd.openxmlformats-officedocument.presentationml.slideLayout+xml"/>
  <Override PartName="/ppt/slideLayouts/slideLayout166.xml" ContentType="application/vnd.openxmlformats-officedocument.presentationml.slideLayout+xml"/>
  <Override PartName="/ppt/slideLayouts/slideLayout165.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0.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31.xml" ContentType="application/vnd.openxmlformats-officedocument.presentationml.slideLayout+xml"/>
  <Override PartName="/ppt/slideLayouts/slideLayout98.xml" ContentType="application/vnd.openxmlformats-officedocument.presentationml.slideLayout+xml"/>
  <Override PartName="/ppt/slideLayouts/slideLayout97.xml" ContentType="application/vnd.openxmlformats-officedocument.presentationml.slideLayout+xml"/>
  <Override PartName="/ppt/slideLayouts/slideLayout9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108.xml" ContentType="application/vnd.openxmlformats-officedocument.presentationml.slideLayout+xml"/>
  <Override PartName="/ppt/slideLayouts/slideLayout107.xml" ContentType="application/vnd.openxmlformats-officedocument.presentationml.slideLayout+xml"/>
  <Override PartName="/ppt/slideLayouts/slideLayout110.xml" ContentType="application/vnd.openxmlformats-officedocument.presentationml.slideLayout+xml"/>
  <Override PartName="/ppt/slideLayouts/slideLayout109.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19.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20.xml" ContentType="application/vnd.openxmlformats-officedocument.presentationml.slideLayout+xml"/>
  <Override PartName="/ppt/slideLayouts/slideLayout114.xml" ContentType="application/vnd.openxmlformats-officedocument.presentationml.slideLayout+xml"/>
  <Override PartName="/ppt/slideLayouts/slideLayout113.xml" ContentType="application/vnd.openxmlformats-officedocument.presentationml.slideLayout+xml"/>
  <Override PartName="/ppt/slideLayouts/slideLayout116.xml" ContentType="application/vnd.openxmlformats-officedocument.presentationml.slideLayout+xml"/>
  <Override PartName="/ppt/slideLayouts/slideLayout115.xml" ContentType="application/vnd.openxmlformats-officedocument.presentationml.slideLayout+xml"/>
  <Override PartName="/ppt/slideLayouts/slideLayout118.xml" ContentType="application/vnd.openxmlformats-officedocument.presentationml.slideLayout+xml"/>
  <Override PartName="/ppt/slideLayouts/slideLayout117.xml" ContentType="application/vnd.openxmlformats-officedocument.presentationml.slideLayout+xml"/>
  <Override PartName="/ppt/notesMasters/notesMaster1.xml" ContentType="application/vnd.openxmlformats-officedocument.presentationml.notesMaster+xml"/>
  <Override PartName="/ppt/charts/chart2.xml" ContentType="application/vnd.openxmlformats-officedocument.drawingml.chart+xml"/>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3.xml" ContentType="application/vnd.openxmlformats-officedocument.drawingml.chart+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3.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1.xml" ContentType="application/vnd.openxmlformats-officedocument.presentationml.tags+xml"/>
  <Override PartName="/ppt/tags/tag5.xml" ContentType="application/vnd.openxmlformats-officedocument.presentationml.tags+xml"/>
  <Override PartName="/ppt/tags/tag2.xml" ContentType="application/vnd.openxmlformats-officedocument.presentationml.tags+xml"/>
  <Override PartName="/ppt/tags/tag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0" r:id="rId1"/>
    <p:sldMasterId id="2147484137" r:id="rId2"/>
    <p:sldMasterId id="2147484163" r:id="rId3"/>
  </p:sldMasterIdLst>
  <p:notesMasterIdLst>
    <p:notesMasterId r:id="rId8"/>
  </p:notesMasterIdLst>
  <p:sldIdLst>
    <p:sldId id="391" r:id="rId4"/>
    <p:sldId id="420" r:id="rId5"/>
    <p:sldId id="412" r:id="rId6"/>
    <p:sldId id="302" r:id="rId7"/>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5C8C"/>
    <a:srgbClr val="FBBB4C"/>
    <a:srgbClr val="99D8F3"/>
    <a:srgbClr val="D80F5F"/>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65" autoAdjust="0"/>
    <p:restoredTop sz="94632" autoAdjust="0"/>
  </p:normalViewPr>
  <p:slideViewPr>
    <p:cSldViewPr snapToGrid="0" snapToObjects="1">
      <p:cViewPr>
        <p:scale>
          <a:sx n="100" d="100"/>
          <a:sy n="100" d="100"/>
        </p:scale>
        <p:origin x="-162" y="-264"/>
      </p:cViewPr>
      <p:guideLst>
        <p:guide orient="horz" pos="4256"/>
        <p:guide orient="horz" pos="251"/>
        <p:guide orient="horz" pos="1157"/>
        <p:guide orient="horz" pos="3989"/>
        <p:guide orient="horz" pos="445"/>
        <p:guide orient="horz" pos="4142"/>
        <p:guide orient="horz" pos="3696"/>
        <p:guide orient="horz" pos="2552"/>
        <p:guide pos="3250"/>
        <p:guide pos="6002"/>
        <p:guide pos="2982"/>
        <p:guide pos="228"/>
        <p:guide pos="4238"/>
        <p:guide pos="4822"/>
        <p:guide pos="5416"/>
        <p:guide pos="2256"/>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customXml" Target="../customXml/item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customXml" Target="../customXml/item3.xml"/><Relationship Id="rId1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presProps" Target="presProps.xml"/><Relationship Id="rId14" Type="http://schemas.openxmlformats.org/officeDocument/2006/relationships/customXml" Target="../customXml/item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34E-2"/>
          <c:y val="5.8188038995125702E-2"/>
          <c:w val="0.93086392240802185"/>
          <c:h val="0.85010748656418089"/>
        </c:manualLayout>
      </c:layout>
      <c:lineChart>
        <c:grouping val="standard"/>
        <c:varyColors val="0"/>
        <c:ser>
          <c:idx val="0"/>
          <c:order val="0"/>
          <c:tx>
            <c:strRef>
              <c:f>Sheet0!$B$1</c:f>
              <c:strCache>
                <c:ptCount val="1"/>
              </c:strCache>
            </c:strRef>
          </c:tx>
          <c:spPr>
            <a:ln w="19050">
              <a:solidFill>
                <a:schemeClr val="accent1"/>
              </a:solidFill>
              <a:prstDash val="solid"/>
            </a:ln>
          </c:spPr>
          <c:marker>
            <c:symbol val="none"/>
          </c:marker>
          <c:cat>
            <c:strRef>
              <c:f>Sheet0!$A$2:$A$1307</c:f>
              <c:strCache>
                <c:ptCount val="1306"/>
                <c:pt idx="0">
                  <c:v>Aug-10</c:v>
                </c:pt>
                <c:pt idx="1">
                  <c:v>Sep-10</c:v>
                </c:pt>
                <c:pt idx="2">
                  <c:v>Sep-10</c:v>
                </c:pt>
                <c:pt idx="3">
                  <c:v>Sep-10</c:v>
                </c:pt>
                <c:pt idx="4">
                  <c:v>Sep-10</c:v>
                </c:pt>
                <c:pt idx="5">
                  <c:v>Sep-10</c:v>
                </c:pt>
                <c:pt idx="6">
                  <c:v>Sep-10</c:v>
                </c:pt>
                <c:pt idx="7">
                  <c:v>Sep-10</c:v>
                </c:pt>
                <c:pt idx="8">
                  <c:v>Sep-10</c:v>
                </c:pt>
                <c:pt idx="9">
                  <c:v>Sep-10</c:v>
                </c:pt>
                <c:pt idx="10">
                  <c:v>Sep-10</c:v>
                </c:pt>
                <c:pt idx="11">
                  <c:v>Sep-10</c:v>
                </c:pt>
                <c:pt idx="12">
                  <c:v>Sep-10</c:v>
                </c:pt>
                <c:pt idx="13">
                  <c:v>Sep-10</c:v>
                </c:pt>
                <c:pt idx="14">
                  <c:v>Sep-10</c:v>
                </c:pt>
                <c:pt idx="15">
                  <c:v>Sep-10</c:v>
                </c:pt>
                <c:pt idx="16">
                  <c:v>Sep-10</c:v>
                </c:pt>
                <c:pt idx="17">
                  <c:v>Sep-10</c:v>
                </c:pt>
                <c:pt idx="18">
                  <c:v>Sep-10</c:v>
                </c:pt>
                <c:pt idx="19">
                  <c:v>Sep-10</c:v>
                </c:pt>
                <c:pt idx="20">
                  <c:v>Sep-10</c:v>
                </c:pt>
                <c:pt idx="21">
                  <c:v>Sep-10</c:v>
                </c:pt>
                <c:pt idx="22">
                  <c:v>Sep-10</c:v>
                </c:pt>
                <c:pt idx="23">
                  <c:v>Oct-10</c:v>
                </c:pt>
                <c:pt idx="24">
                  <c:v>Oct-10</c:v>
                </c:pt>
                <c:pt idx="25">
                  <c:v>Oct-10</c:v>
                </c:pt>
                <c:pt idx="26">
                  <c:v>Oct-10</c:v>
                </c:pt>
                <c:pt idx="27">
                  <c:v>Oct-10</c:v>
                </c:pt>
                <c:pt idx="28">
                  <c:v>Oct-10</c:v>
                </c:pt>
                <c:pt idx="29">
                  <c:v>Oct-10</c:v>
                </c:pt>
                <c:pt idx="30">
                  <c:v>Oct-10</c:v>
                </c:pt>
                <c:pt idx="31">
                  <c:v>Oct-10</c:v>
                </c:pt>
                <c:pt idx="32">
                  <c:v>Oct-10</c:v>
                </c:pt>
                <c:pt idx="33">
                  <c:v>Oct-10</c:v>
                </c:pt>
                <c:pt idx="34">
                  <c:v>Oct-10</c:v>
                </c:pt>
                <c:pt idx="35">
                  <c:v>Oct-10</c:v>
                </c:pt>
                <c:pt idx="36">
                  <c:v>Oct-10</c:v>
                </c:pt>
                <c:pt idx="37">
                  <c:v>Oct-10</c:v>
                </c:pt>
                <c:pt idx="38">
                  <c:v>Oct-10</c:v>
                </c:pt>
                <c:pt idx="39">
                  <c:v>Oct-10</c:v>
                </c:pt>
                <c:pt idx="40">
                  <c:v>Oct-10</c:v>
                </c:pt>
                <c:pt idx="41">
                  <c:v>Oct-10</c:v>
                </c:pt>
                <c:pt idx="42">
                  <c:v>Oct-10</c:v>
                </c:pt>
                <c:pt idx="43">
                  <c:v>Oct-10</c:v>
                </c:pt>
                <c:pt idx="44">
                  <c:v>Nov-10</c:v>
                </c:pt>
                <c:pt idx="45">
                  <c:v>Nov-10</c:v>
                </c:pt>
                <c:pt idx="46">
                  <c:v>Nov-10</c:v>
                </c:pt>
                <c:pt idx="47">
                  <c:v>Nov-10</c:v>
                </c:pt>
                <c:pt idx="48">
                  <c:v>Nov-10</c:v>
                </c:pt>
                <c:pt idx="49">
                  <c:v>Nov-10</c:v>
                </c:pt>
                <c:pt idx="50">
                  <c:v>Nov-10</c:v>
                </c:pt>
                <c:pt idx="51">
                  <c:v>Nov-10</c:v>
                </c:pt>
                <c:pt idx="52">
                  <c:v>Nov-10</c:v>
                </c:pt>
                <c:pt idx="53">
                  <c:v>Nov-10</c:v>
                </c:pt>
                <c:pt idx="54">
                  <c:v>Nov-10</c:v>
                </c:pt>
                <c:pt idx="55">
                  <c:v>Nov-10</c:v>
                </c:pt>
                <c:pt idx="56">
                  <c:v>Nov-10</c:v>
                </c:pt>
                <c:pt idx="57">
                  <c:v>Nov-10</c:v>
                </c:pt>
                <c:pt idx="58">
                  <c:v>Nov-10</c:v>
                </c:pt>
                <c:pt idx="59">
                  <c:v>Nov-10</c:v>
                </c:pt>
                <c:pt idx="60">
                  <c:v>Nov-10</c:v>
                </c:pt>
                <c:pt idx="61">
                  <c:v>Nov-10</c:v>
                </c:pt>
                <c:pt idx="62">
                  <c:v>Nov-10</c:v>
                </c:pt>
                <c:pt idx="63">
                  <c:v>Nov-10</c:v>
                </c:pt>
                <c:pt idx="64">
                  <c:v>Nov-10</c:v>
                </c:pt>
                <c:pt idx="65">
                  <c:v>Nov-10</c:v>
                </c:pt>
                <c:pt idx="66">
                  <c:v>Dec-10</c:v>
                </c:pt>
                <c:pt idx="67">
                  <c:v>Dec-10</c:v>
                </c:pt>
                <c:pt idx="68">
                  <c:v>Dec-10</c:v>
                </c:pt>
                <c:pt idx="69">
                  <c:v>Dec-10</c:v>
                </c:pt>
                <c:pt idx="70">
                  <c:v>Dec-10</c:v>
                </c:pt>
                <c:pt idx="71">
                  <c:v>Dec-10</c:v>
                </c:pt>
                <c:pt idx="72">
                  <c:v>Dec-10</c:v>
                </c:pt>
                <c:pt idx="73">
                  <c:v>Dec-10</c:v>
                </c:pt>
                <c:pt idx="74">
                  <c:v>Dec-10</c:v>
                </c:pt>
                <c:pt idx="75">
                  <c:v>Dec-10</c:v>
                </c:pt>
                <c:pt idx="76">
                  <c:v>Dec-10</c:v>
                </c:pt>
                <c:pt idx="77">
                  <c:v>Dec-10</c:v>
                </c:pt>
                <c:pt idx="78">
                  <c:v>Dec-10</c:v>
                </c:pt>
                <c:pt idx="79">
                  <c:v>Dec-10</c:v>
                </c:pt>
                <c:pt idx="80">
                  <c:v>Dec-10</c:v>
                </c:pt>
                <c:pt idx="81">
                  <c:v>Dec-10</c:v>
                </c:pt>
                <c:pt idx="82">
                  <c:v>Dec-10</c:v>
                </c:pt>
                <c:pt idx="83">
                  <c:v>Dec-10</c:v>
                </c:pt>
                <c:pt idx="84">
                  <c:v>Dec-10</c:v>
                </c:pt>
                <c:pt idx="85">
                  <c:v>Dec-10</c:v>
                </c:pt>
                <c:pt idx="86">
                  <c:v>Dec-10</c:v>
                </c:pt>
                <c:pt idx="87">
                  <c:v>Dec-10</c:v>
                </c:pt>
                <c:pt idx="88">
                  <c:v>Dec-10</c:v>
                </c:pt>
                <c:pt idx="89">
                  <c:v>Jan-11</c:v>
                </c:pt>
                <c:pt idx="90">
                  <c:v>Jan-11</c:v>
                </c:pt>
                <c:pt idx="91">
                  <c:v>Jan-11</c:v>
                </c:pt>
                <c:pt idx="92">
                  <c:v>Jan-11</c:v>
                </c:pt>
                <c:pt idx="93">
                  <c:v>Jan-11</c:v>
                </c:pt>
                <c:pt idx="94">
                  <c:v>Jan-11</c:v>
                </c:pt>
                <c:pt idx="95">
                  <c:v>Jan-11</c:v>
                </c:pt>
                <c:pt idx="96">
                  <c:v>Jan-11</c:v>
                </c:pt>
                <c:pt idx="97">
                  <c:v>Jan-11</c:v>
                </c:pt>
                <c:pt idx="98">
                  <c:v>Jan-11</c:v>
                </c:pt>
                <c:pt idx="99">
                  <c:v>Jan-11</c:v>
                </c:pt>
                <c:pt idx="100">
                  <c:v>Jan-11</c:v>
                </c:pt>
                <c:pt idx="101">
                  <c:v>Jan-11</c:v>
                </c:pt>
                <c:pt idx="102">
                  <c:v>Jan-11</c:v>
                </c:pt>
                <c:pt idx="103">
                  <c:v>Jan-11</c:v>
                </c:pt>
                <c:pt idx="104">
                  <c:v>Jan-11</c:v>
                </c:pt>
                <c:pt idx="105">
                  <c:v>Jan-11</c:v>
                </c:pt>
                <c:pt idx="106">
                  <c:v>Jan-11</c:v>
                </c:pt>
                <c:pt idx="107">
                  <c:v>Jan-11</c:v>
                </c:pt>
                <c:pt idx="108">
                  <c:v>Jan-11</c:v>
                </c:pt>
                <c:pt idx="109">
                  <c:v>Jan-11</c:v>
                </c:pt>
                <c:pt idx="110">
                  <c:v>Feb-11</c:v>
                </c:pt>
                <c:pt idx="111">
                  <c:v>Feb-11</c:v>
                </c:pt>
                <c:pt idx="112">
                  <c:v>Feb-11</c:v>
                </c:pt>
                <c:pt idx="113">
                  <c:v>Feb-11</c:v>
                </c:pt>
                <c:pt idx="114">
                  <c:v>Feb-11</c:v>
                </c:pt>
                <c:pt idx="115">
                  <c:v>Feb-11</c:v>
                </c:pt>
                <c:pt idx="116">
                  <c:v>Feb-11</c:v>
                </c:pt>
                <c:pt idx="117">
                  <c:v>Feb-11</c:v>
                </c:pt>
                <c:pt idx="118">
                  <c:v>Feb-11</c:v>
                </c:pt>
                <c:pt idx="119">
                  <c:v>Feb-11</c:v>
                </c:pt>
                <c:pt idx="120">
                  <c:v>Feb-11</c:v>
                </c:pt>
                <c:pt idx="121">
                  <c:v>Feb-11</c:v>
                </c:pt>
                <c:pt idx="122">
                  <c:v>Feb-11</c:v>
                </c:pt>
                <c:pt idx="123">
                  <c:v>Feb-11</c:v>
                </c:pt>
                <c:pt idx="124">
                  <c:v>Feb-11</c:v>
                </c:pt>
                <c:pt idx="125">
                  <c:v>Feb-11</c:v>
                </c:pt>
                <c:pt idx="126">
                  <c:v>Feb-11</c:v>
                </c:pt>
                <c:pt idx="127">
                  <c:v>Feb-11</c:v>
                </c:pt>
                <c:pt idx="128">
                  <c:v>Feb-11</c:v>
                </c:pt>
                <c:pt idx="129">
                  <c:v>Feb-11</c:v>
                </c:pt>
                <c:pt idx="130">
                  <c:v>Mar-11</c:v>
                </c:pt>
                <c:pt idx="131">
                  <c:v>Mar-11</c:v>
                </c:pt>
                <c:pt idx="132">
                  <c:v>Mar-11</c:v>
                </c:pt>
                <c:pt idx="133">
                  <c:v>Mar-11</c:v>
                </c:pt>
                <c:pt idx="134">
                  <c:v>Mar-11</c:v>
                </c:pt>
                <c:pt idx="135">
                  <c:v>Mar-11</c:v>
                </c:pt>
                <c:pt idx="136">
                  <c:v>Mar-11</c:v>
                </c:pt>
                <c:pt idx="137">
                  <c:v>Mar-11</c:v>
                </c:pt>
                <c:pt idx="138">
                  <c:v>Mar-11</c:v>
                </c:pt>
                <c:pt idx="139">
                  <c:v>Mar-11</c:v>
                </c:pt>
                <c:pt idx="140">
                  <c:v>Mar-11</c:v>
                </c:pt>
                <c:pt idx="141">
                  <c:v>Mar-11</c:v>
                </c:pt>
                <c:pt idx="142">
                  <c:v>Mar-11</c:v>
                </c:pt>
                <c:pt idx="143">
                  <c:v>Mar-11</c:v>
                </c:pt>
                <c:pt idx="144">
                  <c:v>Mar-11</c:v>
                </c:pt>
                <c:pt idx="145">
                  <c:v>Mar-11</c:v>
                </c:pt>
                <c:pt idx="146">
                  <c:v>Mar-11</c:v>
                </c:pt>
                <c:pt idx="147">
                  <c:v>Mar-11</c:v>
                </c:pt>
                <c:pt idx="148">
                  <c:v>Mar-11</c:v>
                </c:pt>
                <c:pt idx="149">
                  <c:v>Mar-11</c:v>
                </c:pt>
                <c:pt idx="150">
                  <c:v>Mar-11</c:v>
                </c:pt>
                <c:pt idx="151">
                  <c:v>Mar-11</c:v>
                </c:pt>
                <c:pt idx="152">
                  <c:v>Mar-11</c:v>
                </c:pt>
                <c:pt idx="153">
                  <c:v>Apr-11</c:v>
                </c:pt>
                <c:pt idx="154">
                  <c:v>Apr-11</c:v>
                </c:pt>
                <c:pt idx="155">
                  <c:v>Apr-11</c:v>
                </c:pt>
                <c:pt idx="156">
                  <c:v>Apr-11</c:v>
                </c:pt>
                <c:pt idx="157">
                  <c:v>Apr-11</c:v>
                </c:pt>
                <c:pt idx="158">
                  <c:v>Apr-11</c:v>
                </c:pt>
                <c:pt idx="159">
                  <c:v>Apr-11</c:v>
                </c:pt>
                <c:pt idx="160">
                  <c:v>Apr-11</c:v>
                </c:pt>
                <c:pt idx="161">
                  <c:v>Apr-11</c:v>
                </c:pt>
                <c:pt idx="162">
                  <c:v>Apr-11</c:v>
                </c:pt>
                <c:pt idx="163">
                  <c:v>Apr-11</c:v>
                </c:pt>
                <c:pt idx="164">
                  <c:v>Apr-11</c:v>
                </c:pt>
                <c:pt idx="165">
                  <c:v>Apr-11</c:v>
                </c:pt>
                <c:pt idx="166">
                  <c:v>Apr-11</c:v>
                </c:pt>
                <c:pt idx="167">
                  <c:v>Apr-11</c:v>
                </c:pt>
                <c:pt idx="168">
                  <c:v>Apr-11</c:v>
                </c:pt>
                <c:pt idx="169">
                  <c:v>Apr-11</c:v>
                </c:pt>
                <c:pt idx="170">
                  <c:v>Apr-11</c:v>
                </c:pt>
                <c:pt idx="171">
                  <c:v>Apr-11</c:v>
                </c:pt>
                <c:pt idx="172">
                  <c:v>May-11</c:v>
                </c:pt>
                <c:pt idx="173">
                  <c:v>May-11</c:v>
                </c:pt>
                <c:pt idx="174">
                  <c:v>May-11</c:v>
                </c:pt>
                <c:pt idx="175">
                  <c:v>May-11</c:v>
                </c:pt>
                <c:pt idx="176">
                  <c:v>May-11</c:v>
                </c:pt>
                <c:pt idx="177">
                  <c:v>May-11</c:v>
                </c:pt>
                <c:pt idx="178">
                  <c:v>May-11</c:v>
                </c:pt>
                <c:pt idx="179">
                  <c:v>May-11</c:v>
                </c:pt>
                <c:pt idx="180">
                  <c:v>May-11</c:v>
                </c:pt>
                <c:pt idx="181">
                  <c:v>May-11</c:v>
                </c:pt>
                <c:pt idx="182">
                  <c:v>May-11</c:v>
                </c:pt>
                <c:pt idx="183">
                  <c:v>May-11</c:v>
                </c:pt>
                <c:pt idx="184">
                  <c:v>May-11</c:v>
                </c:pt>
                <c:pt idx="185">
                  <c:v>May-11</c:v>
                </c:pt>
                <c:pt idx="186">
                  <c:v>May-11</c:v>
                </c:pt>
                <c:pt idx="187">
                  <c:v>May-11</c:v>
                </c:pt>
                <c:pt idx="188">
                  <c:v>May-11</c:v>
                </c:pt>
                <c:pt idx="189">
                  <c:v>May-11</c:v>
                </c:pt>
                <c:pt idx="190">
                  <c:v>May-11</c:v>
                </c:pt>
                <c:pt idx="191">
                  <c:v>May-11</c:v>
                </c:pt>
                <c:pt idx="192">
                  <c:v>May-11</c:v>
                </c:pt>
                <c:pt idx="193">
                  <c:v>May-11</c:v>
                </c:pt>
                <c:pt idx="194">
                  <c:v>Jun-11</c:v>
                </c:pt>
                <c:pt idx="195">
                  <c:v>Jun-11</c:v>
                </c:pt>
                <c:pt idx="196">
                  <c:v>Jun-11</c:v>
                </c:pt>
                <c:pt idx="197">
                  <c:v>Jun-11</c:v>
                </c:pt>
                <c:pt idx="198">
                  <c:v>Jun-11</c:v>
                </c:pt>
                <c:pt idx="199">
                  <c:v>Jun-11</c:v>
                </c:pt>
                <c:pt idx="200">
                  <c:v>Jun-11</c:v>
                </c:pt>
                <c:pt idx="201">
                  <c:v>Jun-11</c:v>
                </c:pt>
                <c:pt idx="202">
                  <c:v>Jun-11</c:v>
                </c:pt>
                <c:pt idx="203">
                  <c:v>Jun-11</c:v>
                </c:pt>
                <c:pt idx="204">
                  <c:v>Jun-11</c:v>
                </c:pt>
                <c:pt idx="205">
                  <c:v>Jun-11</c:v>
                </c:pt>
                <c:pt idx="206">
                  <c:v>Jun-11</c:v>
                </c:pt>
                <c:pt idx="207">
                  <c:v>Jun-11</c:v>
                </c:pt>
                <c:pt idx="208">
                  <c:v>Jun-11</c:v>
                </c:pt>
                <c:pt idx="209">
                  <c:v>Jun-11</c:v>
                </c:pt>
                <c:pt idx="210">
                  <c:v>Jun-11</c:v>
                </c:pt>
                <c:pt idx="211">
                  <c:v>Jun-11</c:v>
                </c:pt>
                <c:pt idx="212">
                  <c:v>Jun-11</c:v>
                </c:pt>
                <c:pt idx="213">
                  <c:v>Jun-11</c:v>
                </c:pt>
                <c:pt idx="214">
                  <c:v>Jun-11</c:v>
                </c:pt>
                <c:pt idx="215">
                  <c:v>Jun-11</c:v>
                </c:pt>
                <c:pt idx="216">
                  <c:v>Jul-11</c:v>
                </c:pt>
                <c:pt idx="217">
                  <c:v>Jul-11</c:v>
                </c:pt>
                <c:pt idx="218">
                  <c:v>Jul-11</c:v>
                </c:pt>
                <c:pt idx="219">
                  <c:v>Jul-11</c:v>
                </c:pt>
                <c:pt idx="220">
                  <c:v>Jul-11</c:v>
                </c:pt>
                <c:pt idx="221">
                  <c:v>Jul-11</c:v>
                </c:pt>
                <c:pt idx="222">
                  <c:v>Jul-11</c:v>
                </c:pt>
                <c:pt idx="223">
                  <c:v>Jul-11</c:v>
                </c:pt>
                <c:pt idx="224">
                  <c:v>Jul-11</c:v>
                </c:pt>
                <c:pt idx="225">
                  <c:v>Jul-11</c:v>
                </c:pt>
                <c:pt idx="226">
                  <c:v>Jul-11</c:v>
                </c:pt>
                <c:pt idx="227">
                  <c:v>Jul-11</c:v>
                </c:pt>
                <c:pt idx="228">
                  <c:v>Jul-11</c:v>
                </c:pt>
                <c:pt idx="229">
                  <c:v>Jul-11</c:v>
                </c:pt>
                <c:pt idx="230">
                  <c:v>Jul-11</c:v>
                </c:pt>
                <c:pt idx="231">
                  <c:v>Jul-11</c:v>
                </c:pt>
                <c:pt idx="232">
                  <c:v>Jul-11</c:v>
                </c:pt>
                <c:pt idx="233">
                  <c:v>Jul-11</c:v>
                </c:pt>
                <c:pt idx="234">
                  <c:v>Jul-11</c:v>
                </c:pt>
                <c:pt idx="235">
                  <c:v>Jul-11</c:v>
                </c:pt>
                <c:pt idx="236">
                  <c:v>Jul-11</c:v>
                </c:pt>
                <c:pt idx="237">
                  <c:v>Aug-11</c:v>
                </c:pt>
                <c:pt idx="238">
                  <c:v>Aug-11</c:v>
                </c:pt>
                <c:pt idx="239">
                  <c:v>Aug-11</c:v>
                </c:pt>
                <c:pt idx="240">
                  <c:v>Aug-11</c:v>
                </c:pt>
                <c:pt idx="241">
                  <c:v>Aug-11</c:v>
                </c:pt>
                <c:pt idx="242">
                  <c:v>Aug-11</c:v>
                </c:pt>
                <c:pt idx="243">
                  <c:v>Aug-11</c:v>
                </c:pt>
                <c:pt idx="244">
                  <c:v>Aug-11</c:v>
                </c:pt>
                <c:pt idx="245">
                  <c:v>Aug-11</c:v>
                </c:pt>
                <c:pt idx="246">
                  <c:v>Aug-11</c:v>
                </c:pt>
                <c:pt idx="247">
                  <c:v>Aug-11</c:v>
                </c:pt>
                <c:pt idx="248">
                  <c:v>Aug-11</c:v>
                </c:pt>
                <c:pt idx="249">
                  <c:v>Aug-11</c:v>
                </c:pt>
                <c:pt idx="250">
                  <c:v>Aug-11</c:v>
                </c:pt>
                <c:pt idx="251">
                  <c:v>Aug-11</c:v>
                </c:pt>
                <c:pt idx="252">
                  <c:v>Aug-11</c:v>
                </c:pt>
                <c:pt idx="253">
                  <c:v>Aug-11</c:v>
                </c:pt>
                <c:pt idx="254">
                  <c:v>Aug-11</c:v>
                </c:pt>
                <c:pt idx="255">
                  <c:v>Aug-11</c:v>
                </c:pt>
                <c:pt idx="256">
                  <c:v>Aug-11</c:v>
                </c:pt>
                <c:pt idx="257">
                  <c:v>Aug-11</c:v>
                </c:pt>
                <c:pt idx="258">
                  <c:v>Aug-11</c:v>
                </c:pt>
                <c:pt idx="259">
                  <c:v>Aug-11</c:v>
                </c:pt>
                <c:pt idx="260">
                  <c:v>Sep-11</c:v>
                </c:pt>
                <c:pt idx="261">
                  <c:v>Sep-11</c:v>
                </c:pt>
                <c:pt idx="262">
                  <c:v>Sep-11</c:v>
                </c:pt>
                <c:pt idx="263">
                  <c:v>Sep-11</c:v>
                </c:pt>
                <c:pt idx="264">
                  <c:v>Sep-11</c:v>
                </c:pt>
                <c:pt idx="265">
                  <c:v>Sep-11</c:v>
                </c:pt>
                <c:pt idx="266">
                  <c:v>Sep-11</c:v>
                </c:pt>
                <c:pt idx="267">
                  <c:v>Sep-11</c:v>
                </c:pt>
                <c:pt idx="268">
                  <c:v>Sep-11</c:v>
                </c:pt>
                <c:pt idx="269">
                  <c:v>Sep-11</c:v>
                </c:pt>
                <c:pt idx="270">
                  <c:v>Sep-11</c:v>
                </c:pt>
                <c:pt idx="271">
                  <c:v>Sep-11</c:v>
                </c:pt>
                <c:pt idx="272">
                  <c:v>Sep-11</c:v>
                </c:pt>
                <c:pt idx="273">
                  <c:v>Sep-11</c:v>
                </c:pt>
                <c:pt idx="274">
                  <c:v>Sep-11</c:v>
                </c:pt>
                <c:pt idx="275">
                  <c:v>Sep-11</c:v>
                </c:pt>
                <c:pt idx="276">
                  <c:v>Sep-11</c:v>
                </c:pt>
                <c:pt idx="277">
                  <c:v>Sep-11</c:v>
                </c:pt>
                <c:pt idx="278">
                  <c:v>Sep-11</c:v>
                </c:pt>
                <c:pt idx="279">
                  <c:v>Sep-11</c:v>
                </c:pt>
                <c:pt idx="280">
                  <c:v>Sep-11</c:v>
                </c:pt>
                <c:pt idx="281">
                  <c:v>Sep-11</c:v>
                </c:pt>
                <c:pt idx="282">
                  <c:v>Oct-11</c:v>
                </c:pt>
                <c:pt idx="283">
                  <c:v>Oct-11</c:v>
                </c:pt>
                <c:pt idx="284">
                  <c:v>Oct-11</c:v>
                </c:pt>
                <c:pt idx="285">
                  <c:v>Oct-11</c:v>
                </c:pt>
                <c:pt idx="286">
                  <c:v>Oct-11</c:v>
                </c:pt>
                <c:pt idx="287">
                  <c:v>Oct-11</c:v>
                </c:pt>
                <c:pt idx="288">
                  <c:v>Oct-11</c:v>
                </c:pt>
                <c:pt idx="289">
                  <c:v>Oct-11</c:v>
                </c:pt>
                <c:pt idx="290">
                  <c:v>Oct-11</c:v>
                </c:pt>
                <c:pt idx="291">
                  <c:v>Oct-11</c:v>
                </c:pt>
                <c:pt idx="292">
                  <c:v>Oct-11</c:v>
                </c:pt>
                <c:pt idx="293">
                  <c:v>Oct-11</c:v>
                </c:pt>
                <c:pt idx="294">
                  <c:v>Oct-11</c:v>
                </c:pt>
                <c:pt idx="295">
                  <c:v>Oct-11</c:v>
                </c:pt>
                <c:pt idx="296">
                  <c:v>Oct-11</c:v>
                </c:pt>
                <c:pt idx="297">
                  <c:v>Oct-11</c:v>
                </c:pt>
                <c:pt idx="298">
                  <c:v>Oct-11</c:v>
                </c:pt>
                <c:pt idx="299">
                  <c:v>Oct-11</c:v>
                </c:pt>
                <c:pt idx="300">
                  <c:v>Oct-11</c:v>
                </c:pt>
                <c:pt idx="301">
                  <c:v>Oct-11</c:v>
                </c:pt>
                <c:pt idx="302">
                  <c:v>Oct-11</c:v>
                </c:pt>
                <c:pt idx="303">
                  <c:v>Nov-11</c:v>
                </c:pt>
                <c:pt idx="304">
                  <c:v>Nov-11</c:v>
                </c:pt>
                <c:pt idx="305">
                  <c:v>Nov-11</c:v>
                </c:pt>
                <c:pt idx="306">
                  <c:v>Nov-11</c:v>
                </c:pt>
                <c:pt idx="307">
                  <c:v>Nov-11</c:v>
                </c:pt>
                <c:pt idx="308">
                  <c:v>Nov-11</c:v>
                </c:pt>
                <c:pt idx="309">
                  <c:v>Nov-11</c:v>
                </c:pt>
                <c:pt idx="310">
                  <c:v>Nov-11</c:v>
                </c:pt>
                <c:pt idx="311">
                  <c:v>Nov-11</c:v>
                </c:pt>
                <c:pt idx="312">
                  <c:v>Nov-11</c:v>
                </c:pt>
                <c:pt idx="313">
                  <c:v>Nov-11</c:v>
                </c:pt>
                <c:pt idx="314">
                  <c:v>Nov-11</c:v>
                </c:pt>
                <c:pt idx="315">
                  <c:v>Nov-11</c:v>
                </c:pt>
                <c:pt idx="316">
                  <c:v>Nov-11</c:v>
                </c:pt>
                <c:pt idx="317">
                  <c:v>Nov-11</c:v>
                </c:pt>
                <c:pt idx="318">
                  <c:v>Nov-11</c:v>
                </c:pt>
                <c:pt idx="319">
                  <c:v>Nov-11</c:v>
                </c:pt>
                <c:pt idx="320">
                  <c:v>Nov-11</c:v>
                </c:pt>
                <c:pt idx="321">
                  <c:v>Nov-11</c:v>
                </c:pt>
                <c:pt idx="322">
                  <c:v>Nov-11</c:v>
                </c:pt>
                <c:pt idx="323">
                  <c:v>Nov-11</c:v>
                </c:pt>
                <c:pt idx="324">
                  <c:v>Nov-11</c:v>
                </c:pt>
                <c:pt idx="325">
                  <c:v>Dec-11</c:v>
                </c:pt>
                <c:pt idx="326">
                  <c:v>Dec-11</c:v>
                </c:pt>
                <c:pt idx="327">
                  <c:v>Dec-11</c:v>
                </c:pt>
                <c:pt idx="328">
                  <c:v>Dec-11</c:v>
                </c:pt>
                <c:pt idx="329">
                  <c:v>Dec-11</c:v>
                </c:pt>
                <c:pt idx="330">
                  <c:v>Dec-11</c:v>
                </c:pt>
                <c:pt idx="331">
                  <c:v>Dec-11</c:v>
                </c:pt>
                <c:pt idx="332">
                  <c:v>Dec-11</c:v>
                </c:pt>
                <c:pt idx="333">
                  <c:v>Dec-11</c:v>
                </c:pt>
                <c:pt idx="334">
                  <c:v>Dec-11</c:v>
                </c:pt>
                <c:pt idx="335">
                  <c:v>Dec-11</c:v>
                </c:pt>
                <c:pt idx="336">
                  <c:v>Dec-11</c:v>
                </c:pt>
                <c:pt idx="337">
                  <c:v>Dec-11</c:v>
                </c:pt>
                <c:pt idx="338">
                  <c:v>Dec-11</c:v>
                </c:pt>
                <c:pt idx="339">
                  <c:v>Dec-11</c:v>
                </c:pt>
                <c:pt idx="340">
                  <c:v>Dec-11</c:v>
                </c:pt>
                <c:pt idx="341">
                  <c:v>Dec-11</c:v>
                </c:pt>
                <c:pt idx="342">
                  <c:v>Dec-11</c:v>
                </c:pt>
                <c:pt idx="343">
                  <c:v>Dec-11</c:v>
                </c:pt>
                <c:pt idx="344">
                  <c:v>Dec-11</c:v>
                </c:pt>
                <c:pt idx="345">
                  <c:v>Dec-11</c:v>
                </c:pt>
                <c:pt idx="346">
                  <c:v>Jan-12</c:v>
                </c:pt>
                <c:pt idx="347">
                  <c:v>Jan-12</c:v>
                </c:pt>
                <c:pt idx="348">
                  <c:v>Jan-12</c:v>
                </c:pt>
                <c:pt idx="349">
                  <c:v>Jan-12</c:v>
                </c:pt>
                <c:pt idx="350">
                  <c:v>Jan-12</c:v>
                </c:pt>
                <c:pt idx="351">
                  <c:v>Jan-12</c:v>
                </c:pt>
                <c:pt idx="352">
                  <c:v>Jan-12</c:v>
                </c:pt>
                <c:pt idx="353">
                  <c:v>Jan-12</c:v>
                </c:pt>
                <c:pt idx="354">
                  <c:v>Jan-12</c:v>
                </c:pt>
                <c:pt idx="355">
                  <c:v>Jan-12</c:v>
                </c:pt>
                <c:pt idx="356">
                  <c:v>Jan-12</c:v>
                </c:pt>
                <c:pt idx="357">
                  <c:v>Jan-12</c:v>
                </c:pt>
                <c:pt idx="358">
                  <c:v>Jan-12</c:v>
                </c:pt>
                <c:pt idx="359">
                  <c:v>Jan-12</c:v>
                </c:pt>
                <c:pt idx="360">
                  <c:v>Jan-12</c:v>
                </c:pt>
                <c:pt idx="361">
                  <c:v>Jan-12</c:v>
                </c:pt>
                <c:pt idx="362">
                  <c:v>Jan-12</c:v>
                </c:pt>
                <c:pt idx="363">
                  <c:v>Jan-12</c:v>
                </c:pt>
                <c:pt idx="364">
                  <c:v>Jan-12</c:v>
                </c:pt>
                <c:pt idx="365">
                  <c:v>Jan-12</c:v>
                </c:pt>
                <c:pt idx="366">
                  <c:v>Jan-12</c:v>
                </c:pt>
                <c:pt idx="367">
                  <c:v>Jan-12</c:v>
                </c:pt>
                <c:pt idx="368">
                  <c:v>Feb-12</c:v>
                </c:pt>
                <c:pt idx="369">
                  <c:v>Feb-12</c:v>
                </c:pt>
                <c:pt idx="370">
                  <c:v>Feb-12</c:v>
                </c:pt>
                <c:pt idx="371">
                  <c:v>Feb-12</c:v>
                </c:pt>
                <c:pt idx="372">
                  <c:v>Feb-12</c:v>
                </c:pt>
                <c:pt idx="373">
                  <c:v>Feb-12</c:v>
                </c:pt>
                <c:pt idx="374">
                  <c:v>Feb-12</c:v>
                </c:pt>
                <c:pt idx="375">
                  <c:v>Feb-12</c:v>
                </c:pt>
                <c:pt idx="376">
                  <c:v>Feb-12</c:v>
                </c:pt>
                <c:pt idx="377">
                  <c:v>Feb-12</c:v>
                </c:pt>
                <c:pt idx="378">
                  <c:v>Feb-12</c:v>
                </c:pt>
                <c:pt idx="379">
                  <c:v>Feb-12</c:v>
                </c:pt>
                <c:pt idx="380">
                  <c:v>Feb-12</c:v>
                </c:pt>
                <c:pt idx="381">
                  <c:v>Feb-12</c:v>
                </c:pt>
                <c:pt idx="382">
                  <c:v>Feb-12</c:v>
                </c:pt>
                <c:pt idx="383">
                  <c:v>Feb-12</c:v>
                </c:pt>
                <c:pt idx="384">
                  <c:v>Feb-12</c:v>
                </c:pt>
                <c:pt idx="385">
                  <c:v>Feb-12</c:v>
                </c:pt>
                <c:pt idx="386">
                  <c:v>Feb-12</c:v>
                </c:pt>
                <c:pt idx="387">
                  <c:v>Feb-12</c:v>
                </c:pt>
                <c:pt idx="388">
                  <c:v>Feb-12</c:v>
                </c:pt>
                <c:pt idx="389">
                  <c:v>Mar-12</c:v>
                </c:pt>
                <c:pt idx="390">
                  <c:v>Mar-12</c:v>
                </c:pt>
                <c:pt idx="391">
                  <c:v>Mar-12</c:v>
                </c:pt>
                <c:pt idx="392">
                  <c:v>Mar-12</c:v>
                </c:pt>
                <c:pt idx="393">
                  <c:v>Mar-12</c:v>
                </c:pt>
                <c:pt idx="394">
                  <c:v>Mar-12</c:v>
                </c:pt>
                <c:pt idx="395">
                  <c:v>Mar-12</c:v>
                </c:pt>
                <c:pt idx="396">
                  <c:v>Mar-12</c:v>
                </c:pt>
                <c:pt idx="397">
                  <c:v>Mar-12</c:v>
                </c:pt>
                <c:pt idx="398">
                  <c:v>Mar-12</c:v>
                </c:pt>
                <c:pt idx="399">
                  <c:v>Mar-12</c:v>
                </c:pt>
                <c:pt idx="400">
                  <c:v>Mar-12</c:v>
                </c:pt>
                <c:pt idx="401">
                  <c:v>Mar-12</c:v>
                </c:pt>
                <c:pt idx="402">
                  <c:v>Mar-12</c:v>
                </c:pt>
                <c:pt idx="403">
                  <c:v>Mar-12</c:v>
                </c:pt>
                <c:pt idx="404">
                  <c:v>Mar-12</c:v>
                </c:pt>
                <c:pt idx="405">
                  <c:v>Mar-12</c:v>
                </c:pt>
                <c:pt idx="406">
                  <c:v>Mar-12</c:v>
                </c:pt>
                <c:pt idx="407">
                  <c:v>Mar-12</c:v>
                </c:pt>
                <c:pt idx="408">
                  <c:v>Mar-12</c:v>
                </c:pt>
                <c:pt idx="409">
                  <c:v>Mar-12</c:v>
                </c:pt>
                <c:pt idx="410">
                  <c:v>Mar-12</c:v>
                </c:pt>
                <c:pt idx="411">
                  <c:v>Apr-12</c:v>
                </c:pt>
                <c:pt idx="412">
                  <c:v>Apr-12</c:v>
                </c:pt>
                <c:pt idx="413">
                  <c:v>Apr-12</c:v>
                </c:pt>
                <c:pt idx="414">
                  <c:v>Apr-12</c:v>
                </c:pt>
                <c:pt idx="415">
                  <c:v>Apr-12</c:v>
                </c:pt>
                <c:pt idx="416">
                  <c:v>Apr-12</c:v>
                </c:pt>
                <c:pt idx="417">
                  <c:v>Apr-12</c:v>
                </c:pt>
                <c:pt idx="418">
                  <c:v>Apr-12</c:v>
                </c:pt>
                <c:pt idx="419">
                  <c:v>Apr-12</c:v>
                </c:pt>
                <c:pt idx="420">
                  <c:v>Apr-12</c:v>
                </c:pt>
                <c:pt idx="421">
                  <c:v>Apr-12</c:v>
                </c:pt>
                <c:pt idx="422">
                  <c:v>Apr-12</c:v>
                </c:pt>
                <c:pt idx="423">
                  <c:v>Apr-12</c:v>
                </c:pt>
                <c:pt idx="424">
                  <c:v>Apr-12</c:v>
                </c:pt>
                <c:pt idx="425">
                  <c:v>Apr-12</c:v>
                </c:pt>
                <c:pt idx="426">
                  <c:v>Apr-12</c:v>
                </c:pt>
                <c:pt idx="427">
                  <c:v>Apr-12</c:v>
                </c:pt>
                <c:pt idx="428">
                  <c:v>Apr-12</c:v>
                </c:pt>
                <c:pt idx="429">
                  <c:v>Apr-12</c:v>
                </c:pt>
                <c:pt idx="430">
                  <c:v>May-12</c:v>
                </c:pt>
                <c:pt idx="431">
                  <c:v>May-12</c:v>
                </c:pt>
                <c:pt idx="432">
                  <c:v>May-12</c:v>
                </c:pt>
                <c:pt idx="433">
                  <c:v>May-12</c:v>
                </c:pt>
                <c:pt idx="434">
                  <c:v>May-12</c:v>
                </c:pt>
                <c:pt idx="435">
                  <c:v>May-12</c:v>
                </c:pt>
                <c:pt idx="436">
                  <c:v>May-12</c:v>
                </c:pt>
                <c:pt idx="437">
                  <c:v>May-12</c:v>
                </c:pt>
                <c:pt idx="438">
                  <c:v>May-12</c:v>
                </c:pt>
                <c:pt idx="439">
                  <c:v>May-12</c:v>
                </c:pt>
                <c:pt idx="440">
                  <c:v>May-12</c:v>
                </c:pt>
                <c:pt idx="441">
                  <c:v>May-12</c:v>
                </c:pt>
                <c:pt idx="442">
                  <c:v>May-12</c:v>
                </c:pt>
                <c:pt idx="443">
                  <c:v>May-12</c:v>
                </c:pt>
                <c:pt idx="444">
                  <c:v>May-12</c:v>
                </c:pt>
                <c:pt idx="445">
                  <c:v>May-12</c:v>
                </c:pt>
                <c:pt idx="446">
                  <c:v>May-12</c:v>
                </c:pt>
                <c:pt idx="447">
                  <c:v>May-12</c:v>
                </c:pt>
                <c:pt idx="448">
                  <c:v>May-12</c:v>
                </c:pt>
                <c:pt idx="449">
                  <c:v>May-12</c:v>
                </c:pt>
                <c:pt idx="450">
                  <c:v>May-12</c:v>
                </c:pt>
                <c:pt idx="451">
                  <c:v>May-12</c:v>
                </c:pt>
                <c:pt idx="452">
                  <c:v>May-12</c:v>
                </c:pt>
                <c:pt idx="453">
                  <c:v>Jun-12</c:v>
                </c:pt>
                <c:pt idx="454">
                  <c:v>Jun-12</c:v>
                </c:pt>
                <c:pt idx="455">
                  <c:v>Jun-12</c:v>
                </c:pt>
                <c:pt idx="456">
                  <c:v>Jun-12</c:v>
                </c:pt>
                <c:pt idx="457">
                  <c:v>Jun-12</c:v>
                </c:pt>
                <c:pt idx="458">
                  <c:v>Jun-12</c:v>
                </c:pt>
                <c:pt idx="459">
                  <c:v>Jun-12</c:v>
                </c:pt>
                <c:pt idx="460">
                  <c:v>Jun-12</c:v>
                </c:pt>
                <c:pt idx="461">
                  <c:v>Jun-12</c:v>
                </c:pt>
                <c:pt idx="462">
                  <c:v>Jun-12</c:v>
                </c:pt>
                <c:pt idx="463">
                  <c:v>Jun-12</c:v>
                </c:pt>
                <c:pt idx="464">
                  <c:v>Jun-12</c:v>
                </c:pt>
                <c:pt idx="465">
                  <c:v>Jun-12</c:v>
                </c:pt>
                <c:pt idx="466">
                  <c:v>Jun-12</c:v>
                </c:pt>
                <c:pt idx="467">
                  <c:v>Jun-12</c:v>
                </c:pt>
                <c:pt idx="468">
                  <c:v>Jun-12</c:v>
                </c:pt>
                <c:pt idx="469">
                  <c:v>Jun-12</c:v>
                </c:pt>
                <c:pt idx="470">
                  <c:v>Jun-12</c:v>
                </c:pt>
                <c:pt idx="471">
                  <c:v>Jun-12</c:v>
                </c:pt>
                <c:pt idx="472">
                  <c:v>Jun-12</c:v>
                </c:pt>
                <c:pt idx="473">
                  <c:v>Jun-12</c:v>
                </c:pt>
                <c:pt idx="474">
                  <c:v>Jul-12</c:v>
                </c:pt>
                <c:pt idx="475">
                  <c:v>Jul-12</c:v>
                </c:pt>
                <c:pt idx="476">
                  <c:v>Jul-12</c:v>
                </c:pt>
                <c:pt idx="477">
                  <c:v>Jul-12</c:v>
                </c:pt>
                <c:pt idx="478">
                  <c:v>Jul-12</c:v>
                </c:pt>
                <c:pt idx="479">
                  <c:v>Jul-12</c:v>
                </c:pt>
                <c:pt idx="480">
                  <c:v>Jul-12</c:v>
                </c:pt>
                <c:pt idx="481">
                  <c:v>Jul-12</c:v>
                </c:pt>
                <c:pt idx="482">
                  <c:v>Jul-12</c:v>
                </c:pt>
                <c:pt idx="483">
                  <c:v>Jul-12</c:v>
                </c:pt>
                <c:pt idx="484">
                  <c:v>Jul-12</c:v>
                </c:pt>
                <c:pt idx="485">
                  <c:v>Jul-12</c:v>
                </c:pt>
                <c:pt idx="486">
                  <c:v>Jul-12</c:v>
                </c:pt>
                <c:pt idx="487">
                  <c:v>Jul-12</c:v>
                </c:pt>
                <c:pt idx="488">
                  <c:v>Jul-12</c:v>
                </c:pt>
                <c:pt idx="489">
                  <c:v>Jul-12</c:v>
                </c:pt>
                <c:pt idx="490">
                  <c:v>Jul-12</c:v>
                </c:pt>
                <c:pt idx="491">
                  <c:v>Jul-12</c:v>
                </c:pt>
                <c:pt idx="492">
                  <c:v>Jul-12</c:v>
                </c:pt>
                <c:pt idx="493">
                  <c:v>Jul-12</c:v>
                </c:pt>
                <c:pt idx="494">
                  <c:v>Jul-12</c:v>
                </c:pt>
                <c:pt idx="495">
                  <c:v>Jul-12</c:v>
                </c:pt>
                <c:pt idx="496">
                  <c:v>Aug-12</c:v>
                </c:pt>
                <c:pt idx="497">
                  <c:v>Aug-12</c:v>
                </c:pt>
                <c:pt idx="498">
                  <c:v>Aug-12</c:v>
                </c:pt>
                <c:pt idx="499">
                  <c:v>Aug-12</c:v>
                </c:pt>
                <c:pt idx="500">
                  <c:v>Aug-12</c:v>
                </c:pt>
                <c:pt idx="501">
                  <c:v>Aug-12</c:v>
                </c:pt>
                <c:pt idx="502">
                  <c:v>Aug-12</c:v>
                </c:pt>
                <c:pt idx="503">
                  <c:v>Aug-12</c:v>
                </c:pt>
                <c:pt idx="504">
                  <c:v>Aug-12</c:v>
                </c:pt>
                <c:pt idx="505">
                  <c:v>Aug-12</c:v>
                </c:pt>
                <c:pt idx="506">
                  <c:v>Aug-12</c:v>
                </c:pt>
                <c:pt idx="507">
                  <c:v>Aug-12</c:v>
                </c:pt>
                <c:pt idx="508">
                  <c:v>Aug-12</c:v>
                </c:pt>
                <c:pt idx="509">
                  <c:v>Aug-12</c:v>
                </c:pt>
                <c:pt idx="510">
                  <c:v>Aug-12</c:v>
                </c:pt>
                <c:pt idx="511">
                  <c:v>Aug-12</c:v>
                </c:pt>
                <c:pt idx="512">
                  <c:v>Aug-12</c:v>
                </c:pt>
                <c:pt idx="513">
                  <c:v>Aug-12</c:v>
                </c:pt>
                <c:pt idx="514">
                  <c:v>Aug-12</c:v>
                </c:pt>
                <c:pt idx="515">
                  <c:v>Aug-12</c:v>
                </c:pt>
                <c:pt idx="516">
                  <c:v>Aug-12</c:v>
                </c:pt>
                <c:pt idx="517">
                  <c:v>Aug-12</c:v>
                </c:pt>
                <c:pt idx="518">
                  <c:v>Aug-12</c:v>
                </c:pt>
                <c:pt idx="519">
                  <c:v>Sep-12</c:v>
                </c:pt>
                <c:pt idx="520">
                  <c:v>Sep-12</c:v>
                </c:pt>
                <c:pt idx="521">
                  <c:v>Sep-12</c:v>
                </c:pt>
                <c:pt idx="522">
                  <c:v>Sep-12</c:v>
                </c:pt>
                <c:pt idx="523">
                  <c:v>Sep-12</c:v>
                </c:pt>
                <c:pt idx="524">
                  <c:v>Sep-12</c:v>
                </c:pt>
                <c:pt idx="525">
                  <c:v>Sep-12</c:v>
                </c:pt>
                <c:pt idx="526">
                  <c:v>Sep-12</c:v>
                </c:pt>
                <c:pt idx="527">
                  <c:v>Sep-12</c:v>
                </c:pt>
                <c:pt idx="528">
                  <c:v>Sep-12</c:v>
                </c:pt>
                <c:pt idx="529">
                  <c:v>Sep-12</c:v>
                </c:pt>
                <c:pt idx="530">
                  <c:v>Sep-12</c:v>
                </c:pt>
                <c:pt idx="531">
                  <c:v>Sep-12</c:v>
                </c:pt>
                <c:pt idx="532">
                  <c:v>Sep-12</c:v>
                </c:pt>
                <c:pt idx="533">
                  <c:v>Sep-12</c:v>
                </c:pt>
                <c:pt idx="534">
                  <c:v>Sep-12</c:v>
                </c:pt>
                <c:pt idx="535">
                  <c:v>Sep-12</c:v>
                </c:pt>
                <c:pt idx="536">
                  <c:v>Sep-12</c:v>
                </c:pt>
                <c:pt idx="537">
                  <c:v>Sep-12</c:v>
                </c:pt>
                <c:pt idx="538">
                  <c:v>Sep-12</c:v>
                </c:pt>
                <c:pt idx="539">
                  <c:v>Oct-12</c:v>
                </c:pt>
                <c:pt idx="540">
                  <c:v>Oct-12</c:v>
                </c:pt>
                <c:pt idx="541">
                  <c:v>Oct-12</c:v>
                </c:pt>
                <c:pt idx="542">
                  <c:v>Oct-12</c:v>
                </c:pt>
                <c:pt idx="543">
                  <c:v>Oct-12</c:v>
                </c:pt>
                <c:pt idx="544">
                  <c:v>Oct-12</c:v>
                </c:pt>
                <c:pt idx="545">
                  <c:v>Oct-12</c:v>
                </c:pt>
                <c:pt idx="546">
                  <c:v>Oct-12</c:v>
                </c:pt>
                <c:pt idx="547">
                  <c:v>Oct-12</c:v>
                </c:pt>
                <c:pt idx="548">
                  <c:v>Oct-12</c:v>
                </c:pt>
                <c:pt idx="549">
                  <c:v>Oct-12</c:v>
                </c:pt>
                <c:pt idx="550">
                  <c:v>Oct-12</c:v>
                </c:pt>
                <c:pt idx="551">
                  <c:v>Oct-12</c:v>
                </c:pt>
                <c:pt idx="552">
                  <c:v>Oct-12</c:v>
                </c:pt>
                <c:pt idx="553">
                  <c:v>Oct-12</c:v>
                </c:pt>
                <c:pt idx="554">
                  <c:v>Oct-12</c:v>
                </c:pt>
                <c:pt idx="555">
                  <c:v>Oct-12</c:v>
                </c:pt>
                <c:pt idx="556">
                  <c:v>Oct-12</c:v>
                </c:pt>
                <c:pt idx="557">
                  <c:v>Oct-12</c:v>
                </c:pt>
                <c:pt idx="558">
                  <c:v>Oct-12</c:v>
                </c:pt>
                <c:pt idx="559">
                  <c:v>Oct-12</c:v>
                </c:pt>
                <c:pt idx="560">
                  <c:v>Oct-12</c:v>
                </c:pt>
                <c:pt idx="561">
                  <c:v>Oct-12</c:v>
                </c:pt>
                <c:pt idx="562">
                  <c:v>Nov-12</c:v>
                </c:pt>
                <c:pt idx="563">
                  <c:v>Nov-12</c:v>
                </c:pt>
                <c:pt idx="564">
                  <c:v>Nov-12</c:v>
                </c:pt>
                <c:pt idx="565">
                  <c:v>Nov-12</c:v>
                </c:pt>
                <c:pt idx="566">
                  <c:v>Nov-12</c:v>
                </c:pt>
                <c:pt idx="567">
                  <c:v>Nov-12</c:v>
                </c:pt>
                <c:pt idx="568">
                  <c:v>Nov-12</c:v>
                </c:pt>
                <c:pt idx="569">
                  <c:v>Nov-12</c:v>
                </c:pt>
                <c:pt idx="570">
                  <c:v>Nov-12</c:v>
                </c:pt>
                <c:pt idx="571">
                  <c:v>Nov-12</c:v>
                </c:pt>
                <c:pt idx="572">
                  <c:v>Nov-12</c:v>
                </c:pt>
                <c:pt idx="573">
                  <c:v>Nov-12</c:v>
                </c:pt>
                <c:pt idx="574">
                  <c:v>Nov-12</c:v>
                </c:pt>
                <c:pt idx="575">
                  <c:v>Nov-12</c:v>
                </c:pt>
                <c:pt idx="576">
                  <c:v>Nov-12</c:v>
                </c:pt>
                <c:pt idx="577">
                  <c:v>Nov-12</c:v>
                </c:pt>
                <c:pt idx="578">
                  <c:v>Nov-12</c:v>
                </c:pt>
                <c:pt idx="579">
                  <c:v>Nov-12</c:v>
                </c:pt>
                <c:pt idx="580">
                  <c:v>Nov-12</c:v>
                </c:pt>
                <c:pt idx="581">
                  <c:v>Nov-12</c:v>
                </c:pt>
                <c:pt idx="582">
                  <c:v>Nov-12</c:v>
                </c:pt>
                <c:pt idx="583">
                  <c:v>Nov-12</c:v>
                </c:pt>
                <c:pt idx="584">
                  <c:v>Dec-12</c:v>
                </c:pt>
                <c:pt idx="585">
                  <c:v>Dec-12</c:v>
                </c:pt>
                <c:pt idx="586">
                  <c:v>Dec-12</c:v>
                </c:pt>
                <c:pt idx="587">
                  <c:v>Dec-12</c:v>
                </c:pt>
                <c:pt idx="588">
                  <c:v>Dec-12</c:v>
                </c:pt>
                <c:pt idx="589">
                  <c:v>Dec-12</c:v>
                </c:pt>
                <c:pt idx="590">
                  <c:v>Dec-12</c:v>
                </c:pt>
                <c:pt idx="591">
                  <c:v>Dec-12</c:v>
                </c:pt>
                <c:pt idx="592">
                  <c:v>Dec-12</c:v>
                </c:pt>
                <c:pt idx="593">
                  <c:v>Dec-12</c:v>
                </c:pt>
                <c:pt idx="594">
                  <c:v>Dec-12</c:v>
                </c:pt>
                <c:pt idx="595">
                  <c:v>Dec-12</c:v>
                </c:pt>
                <c:pt idx="596">
                  <c:v>Dec-12</c:v>
                </c:pt>
                <c:pt idx="597">
                  <c:v>Dec-12</c:v>
                </c:pt>
                <c:pt idx="598">
                  <c:v>Dec-12</c:v>
                </c:pt>
                <c:pt idx="599">
                  <c:v>Dec-12</c:v>
                </c:pt>
                <c:pt idx="600">
                  <c:v>Dec-12</c:v>
                </c:pt>
                <c:pt idx="601">
                  <c:v>Dec-12</c:v>
                </c:pt>
                <c:pt idx="602">
                  <c:v>Dec-12</c:v>
                </c:pt>
                <c:pt idx="603">
                  <c:v>Jan-13</c:v>
                </c:pt>
                <c:pt idx="604">
                  <c:v>Jan-13</c:v>
                </c:pt>
                <c:pt idx="605">
                  <c:v>Jan-13</c:v>
                </c:pt>
                <c:pt idx="606">
                  <c:v>Jan-13</c:v>
                </c:pt>
                <c:pt idx="607">
                  <c:v>Jan-13</c:v>
                </c:pt>
                <c:pt idx="608">
                  <c:v>Jan-13</c:v>
                </c:pt>
                <c:pt idx="609">
                  <c:v>Jan-13</c:v>
                </c:pt>
                <c:pt idx="610">
                  <c:v>Jan-13</c:v>
                </c:pt>
                <c:pt idx="611">
                  <c:v>Jan-13</c:v>
                </c:pt>
                <c:pt idx="612">
                  <c:v>Jan-13</c:v>
                </c:pt>
                <c:pt idx="613">
                  <c:v>Jan-13</c:v>
                </c:pt>
                <c:pt idx="614">
                  <c:v>Jan-13</c:v>
                </c:pt>
                <c:pt idx="615">
                  <c:v>Jan-13</c:v>
                </c:pt>
                <c:pt idx="616">
                  <c:v>Jan-13</c:v>
                </c:pt>
                <c:pt idx="617">
                  <c:v>Jan-13</c:v>
                </c:pt>
                <c:pt idx="618">
                  <c:v>Jan-13</c:v>
                </c:pt>
                <c:pt idx="619">
                  <c:v>Jan-13</c:v>
                </c:pt>
                <c:pt idx="620">
                  <c:v>Jan-13</c:v>
                </c:pt>
                <c:pt idx="621">
                  <c:v>Jan-13</c:v>
                </c:pt>
                <c:pt idx="622">
                  <c:v>Jan-13</c:v>
                </c:pt>
                <c:pt idx="623">
                  <c:v>Jan-13</c:v>
                </c:pt>
                <c:pt idx="624">
                  <c:v>Jan-13</c:v>
                </c:pt>
                <c:pt idx="625">
                  <c:v>Feb-13</c:v>
                </c:pt>
                <c:pt idx="626">
                  <c:v>Feb-13</c:v>
                </c:pt>
                <c:pt idx="627">
                  <c:v>Feb-13</c:v>
                </c:pt>
                <c:pt idx="628">
                  <c:v>Feb-13</c:v>
                </c:pt>
                <c:pt idx="629">
                  <c:v>Feb-13</c:v>
                </c:pt>
                <c:pt idx="630">
                  <c:v>Feb-13</c:v>
                </c:pt>
                <c:pt idx="631">
                  <c:v>Feb-13</c:v>
                </c:pt>
                <c:pt idx="632">
                  <c:v>Feb-13</c:v>
                </c:pt>
                <c:pt idx="633">
                  <c:v>Feb-13</c:v>
                </c:pt>
                <c:pt idx="634">
                  <c:v>Feb-13</c:v>
                </c:pt>
                <c:pt idx="635">
                  <c:v>Feb-13</c:v>
                </c:pt>
                <c:pt idx="636">
                  <c:v>Feb-13</c:v>
                </c:pt>
                <c:pt idx="637">
                  <c:v>Feb-13</c:v>
                </c:pt>
                <c:pt idx="638">
                  <c:v>Feb-13</c:v>
                </c:pt>
                <c:pt idx="639">
                  <c:v>Feb-13</c:v>
                </c:pt>
                <c:pt idx="640">
                  <c:v>Feb-13</c:v>
                </c:pt>
                <c:pt idx="641">
                  <c:v>Feb-13</c:v>
                </c:pt>
                <c:pt idx="642">
                  <c:v>Feb-13</c:v>
                </c:pt>
                <c:pt idx="643">
                  <c:v>Feb-13</c:v>
                </c:pt>
                <c:pt idx="644">
                  <c:v>Feb-13</c:v>
                </c:pt>
                <c:pt idx="645">
                  <c:v>Mar-13</c:v>
                </c:pt>
                <c:pt idx="646">
                  <c:v>Mar-13</c:v>
                </c:pt>
                <c:pt idx="647">
                  <c:v>Mar-13</c:v>
                </c:pt>
                <c:pt idx="648">
                  <c:v>Mar-13</c:v>
                </c:pt>
                <c:pt idx="649">
                  <c:v>Mar-13</c:v>
                </c:pt>
                <c:pt idx="650">
                  <c:v>Mar-13</c:v>
                </c:pt>
                <c:pt idx="651">
                  <c:v>Mar-13</c:v>
                </c:pt>
                <c:pt idx="652">
                  <c:v>Mar-13</c:v>
                </c:pt>
                <c:pt idx="653">
                  <c:v>Mar-13</c:v>
                </c:pt>
                <c:pt idx="654">
                  <c:v>Mar-13</c:v>
                </c:pt>
                <c:pt idx="655">
                  <c:v>Mar-13</c:v>
                </c:pt>
                <c:pt idx="656">
                  <c:v>Mar-13</c:v>
                </c:pt>
                <c:pt idx="657">
                  <c:v>Mar-13</c:v>
                </c:pt>
                <c:pt idx="658">
                  <c:v>Mar-13</c:v>
                </c:pt>
                <c:pt idx="659">
                  <c:v>Mar-13</c:v>
                </c:pt>
                <c:pt idx="660">
                  <c:v>Mar-13</c:v>
                </c:pt>
                <c:pt idx="661">
                  <c:v>Mar-13</c:v>
                </c:pt>
                <c:pt idx="662">
                  <c:v>Mar-13</c:v>
                </c:pt>
                <c:pt idx="663">
                  <c:v>Mar-13</c:v>
                </c:pt>
                <c:pt idx="664">
                  <c:v>Mar-13</c:v>
                </c:pt>
                <c:pt idx="665">
                  <c:v>Apr-13</c:v>
                </c:pt>
                <c:pt idx="666">
                  <c:v>Apr-13</c:v>
                </c:pt>
                <c:pt idx="667">
                  <c:v>Apr-13</c:v>
                </c:pt>
                <c:pt idx="668">
                  <c:v>Apr-13</c:v>
                </c:pt>
                <c:pt idx="669">
                  <c:v>Apr-13</c:v>
                </c:pt>
                <c:pt idx="670">
                  <c:v>Apr-13</c:v>
                </c:pt>
                <c:pt idx="671">
                  <c:v>Apr-13</c:v>
                </c:pt>
                <c:pt idx="672">
                  <c:v>Apr-13</c:v>
                </c:pt>
                <c:pt idx="673">
                  <c:v>Apr-13</c:v>
                </c:pt>
                <c:pt idx="674">
                  <c:v>Apr-13</c:v>
                </c:pt>
                <c:pt idx="675">
                  <c:v>Apr-13</c:v>
                </c:pt>
                <c:pt idx="676">
                  <c:v>Apr-13</c:v>
                </c:pt>
                <c:pt idx="677">
                  <c:v>Apr-13</c:v>
                </c:pt>
                <c:pt idx="678">
                  <c:v>Apr-13</c:v>
                </c:pt>
                <c:pt idx="679">
                  <c:v>Apr-13</c:v>
                </c:pt>
                <c:pt idx="680">
                  <c:v>Apr-13</c:v>
                </c:pt>
                <c:pt idx="681">
                  <c:v>Apr-13</c:v>
                </c:pt>
                <c:pt idx="682">
                  <c:v>Apr-13</c:v>
                </c:pt>
                <c:pt idx="683">
                  <c:v>Apr-13</c:v>
                </c:pt>
                <c:pt idx="684">
                  <c:v>Apr-13</c:v>
                </c:pt>
                <c:pt idx="685">
                  <c:v>Apr-13</c:v>
                </c:pt>
                <c:pt idx="686">
                  <c:v>May-13</c:v>
                </c:pt>
                <c:pt idx="687">
                  <c:v>May-13</c:v>
                </c:pt>
                <c:pt idx="688">
                  <c:v>May-13</c:v>
                </c:pt>
                <c:pt idx="689">
                  <c:v>May-13</c:v>
                </c:pt>
                <c:pt idx="690">
                  <c:v>May-13</c:v>
                </c:pt>
                <c:pt idx="691">
                  <c:v>May-13</c:v>
                </c:pt>
                <c:pt idx="692">
                  <c:v>May-13</c:v>
                </c:pt>
                <c:pt idx="693">
                  <c:v>May-13</c:v>
                </c:pt>
                <c:pt idx="694">
                  <c:v>May-13</c:v>
                </c:pt>
                <c:pt idx="695">
                  <c:v>May-13</c:v>
                </c:pt>
                <c:pt idx="696">
                  <c:v>May-13</c:v>
                </c:pt>
                <c:pt idx="697">
                  <c:v>May-13</c:v>
                </c:pt>
                <c:pt idx="698">
                  <c:v>May-13</c:v>
                </c:pt>
                <c:pt idx="699">
                  <c:v>May-13</c:v>
                </c:pt>
                <c:pt idx="700">
                  <c:v>May-13</c:v>
                </c:pt>
                <c:pt idx="701">
                  <c:v>May-13</c:v>
                </c:pt>
                <c:pt idx="702">
                  <c:v>May-13</c:v>
                </c:pt>
                <c:pt idx="703">
                  <c:v>May-13</c:v>
                </c:pt>
                <c:pt idx="704">
                  <c:v>May-13</c:v>
                </c:pt>
                <c:pt idx="705">
                  <c:v>May-13</c:v>
                </c:pt>
                <c:pt idx="706">
                  <c:v>May-13</c:v>
                </c:pt>
                <c:pt idx="707">
                  <c:v>May-13</c:v>
                </c:pt>
                <c:pt idx="708">
                  <c:v>May-13</c:v>
                </c:pt>
                <c:pt idx="709">
                  <c:v>Jun-13</c:v>
                </c:pt>
                <c:pt idx="710">
                  <c:v>Jun-13</c:v>
                </c:pt>
                <c:pt idx="711">
                  <c:v>Jun-13</c:v>
                </c:pt>
                <c:pt idx="712">
                  <c:v>Jun-13</c:v>
                </c:pt>
                <c:pt idx="713">
                  <c:v>Jun-13</c:v>
                </c:pt>
                <c:pt idx="714">
                  <c:v>Jun-13</c:v>
                </c:pt>
                <c:pt idx="715">
                  <c:v>Jun-13</c:v>
                </c:pt>
                <c:pt idx="716">
                  <c:v>Jun-13</c:v>
                </c:pt>
                <c:pt idx="717">
                  <c:v>Jun-13</c:v>
                </c:pt>
                <c:pt idx="718">
                  <c:v>Jun-13</c:v>
                </c:pt>
                <c:pt idx="719">
                  <c:v>Jun-13</c:v>
                </c:pt>
                <c:pt idx="720">
                  <c:v>Jun-13</c:v>
                </c:pt>
                <c:pt idx="721">
                  <c:v>Jun-13</c:v>
                </c:pt>
                <c:pt idx="722">
                  <c:v>Jun-13</c:v>
                </c:pt>
                <c:pt idx="723">
                  <c:v>Jun-13</c:v>
                </c:pt>
                <c:pt idx="724">
                  <c:v>Jun-13</c:v>
                </c:pt>
                <c:pt idx="725">
                  <c:v>Jun-13</c:v>
                </c:pt>
                <c:pt idx="726">
                  <c:v>Jun-13</c:v>
                </c:pt>
                <c:pt idx="727">
                  <c:v>Jun-13</c:v>
                </c:pt>
                <c:pt idx="728">
                  <c:v>Jun-13</c:v>
                </c:pt>
                <c:pt idx="729">
                  <c:v>Jul-13</c:v>
                </c:pt>
                <c:pt idx="730">
                  <c:v>Jul-13</c:v>
                </c:pt>
                <c:pt idx="731">
                  <c:v>Jul-13</c:v>
                </c:pt>
                <c:pt idx="732">
                  <c:v>Jul-13</c:v>
                </c:pt>
                <c:pt idx="733">
                  <c:v>Jul-13</c:v>
                </c:pt>
                <c:pt idx="734">
                  <c:v>Jul-13</c:v>
                </c:pt>
                <c:pt idx="735">
                  <c:v>Jul-13</c:v>
                </c:pt>
                <c:pt idx="736">
                  <c:v>Jul-13</c:v>
                </c:pt>
                <c:pt idx="737">
                  <c:v>Jul-13</c:v>
                </c:pt>
                <c:pt idx="738">
                  <c:v>Jul-13</c:v>
                </c:pt>
                <c:pt idx="739">
                  <c:v>Jul-13</c:v>
                </c:pt>
                <c:pt idx="740">
                  <c:v>Jul-13</c:v>
                </c:pt>
                <c:pt idx="741">
                  <c:v>Jul-13</c:v>
                </c:pt>
                <c:pt idx="742">
                  <c:v>Jul-13</c:v>
                </c:pt>
                <c:pt idx="743">
                  <c:v>Jul-13</c:v>
                </c:pt>
                <c:pt idx="744">
                  <c:v>Jul-13</c:v>
                </c:pt>
                <c:pt idx="745">
                  <c:v>Jul-13</c:v>
                </c:pt>
                <c:pt idx="746">
                  <c:v>Jul-13</c:v>
                </c:pt>
                <c:pt idx="747">
                  <c:v>Jul-13</c:v>
                </c:pt>
                <c:pt idx="748">
                  <c:v>Jul-13</c:v>
                </c:pt>
                <c:pt idx="749">
                  <c:v>Jul-13</c:v>
                </c:pt>
                <c:pt idx="750">
                  <c:v>Jul-13</c:v>
                </c:pt>
                <c:pt idx="751">
                  <c:v>Jul-13</c:v>
                </c:pt>
                <c:pt idx="752">
                  <c:v>Aug-13</c:v>
                </c:pt>
                <c:pt idx="753">
                  <c:v>Aug-13</c:v>
                </c:pt>
                <c:pt idx="754">
                  <c:v>Aug-13</c:v>
                </c:pt>
                <c:pt idx="755">
                  <c:v>Aug-13</c:v>
                </c:pt>
                <c:pt idx="756">
                  <c:v>Aug-13</c:v>
                </c:pt>
                <c:pt idx="757">
                  <c:v>Aug-13</c:v>
                </c:pt>
                <c:pt idx="758">
                  <c:v>Aug-13</c:v>
                </c:pt>
                <c:pt idx="759">
                  <c:v>Aug-13</c:v>
                </c:pt>
                <c:pt idx="760">
                  <c:v>Aug-13</c:v>
                </c:pt>
                <c:pt idx="761">
                  <c:v>Aug-13</c:v>
                </c:pt>
                <c:pt idx="762">
                  <c:v>Aug-13</c:v>
                </c:pt>
                <c:pt idx="763">
                  <c:v>Aug-13</c:v>
                </c:pt>
                <c:pt idx="764">
                  <c:v>Aug-13</c:v>
                </c:pt>
                <c:pt idx="765">
                  <c:v>Aug-13</c:v>
                </c:pt>
                <c:pt idx="766">
                  <c:v>Aug-13</c:v>
                </c:pt>
                <c:pt idx="767">
                  <c:v>Aug-13</c:v>
                </c:pt>
                <c:pt idx="768">
                  <c:v>Aug-13</c:v>
                </c:pt>
                <c:pt idx="769">
                  <c:v>Aug-13</c:v>
                </c:pt>
                <c:pt idx="770">
                  <c:v>Aug-13</c:v>
                </c:pt>
                <c:pt idx="771">
                  <c:v>Aug-13</c:v>
                </c:pt>
                <c:pt idx="772">
                  <c:v>Aug-13</c:v>
                </c:pt>
                <c:pt idx="773">
                  <c:v>Aug-13</c:v>
                </c:pt>
                <c:pt idx="774">
                  <c:v>Sep-13</c:v>
                </c:pt>
                <c:pt idx="775">
                  <c:v>Sep-13</c:v>
                </c:pt>
                <c:pt idx="776">
                  <c:v>Sep-13</c:v>
                </c:pt>
                <c:pt idx="777">
                  <c:v>Sep-13</c:v>
                </c:pt>
                <c:pt idx="778">
                  <c:v>Sep-13</c:v>
                </c:pt>
                <c:pt idx="779">
                  <c:v>Sep-13</c:v>
                </c:pt>
                <c:pt idx="780">
                  <c:v>Sep-13</c:v>
                </c:pt>
                <c:pt idx="781">
                  <c:v>Sep-13</c:v>
                </c:pt>
                <c:pt idx="782">
                  <c:v>Sep-13</c:v>
                </c:pt>
                <c:pt idx="783">
                  <c:v>Sep-13</c:v>
                </c:pt>
                <c:pt idx="784">
                  <c:v>Sep-13</c:v>
                </c:pt>
                <c:pt idx="785">
                  <c:v>Sep-13</c:v>
                </c:pt>
                <c:pt idx="786">
                  <c:v>Sep-13</c:v>
                </c:pt>
                <c:pt idx="787">
                  <c:v>Sep-13</c:v>
                </c:pt>
                <c:pt idx="788">
                  <c:v>Sep-13</c:v>
                </c:pt>
                <c:pt idx="789">
                  <c:v>Sep-13</c:v>
                </c:pt>
                <c:pt idx="790">
                  <c:v>Sep-13</c:v>
                </c:pt>
                <c:pt idx="791">
                  <c:v>Sep-13</c:v>
                </c:pt>
                <c:pt idx="792">
                  <c:v>Sep-13</c:v>
                </c:pt>
                <c:pt idx="793">
                  <c:v>Sep-13</c:v>
                </c:pt>
                <c:pt idx="794">
                  <c:v>Sep-13</c:v>
                </c:pt>
                <c:pt idx="795">
                  <c:v>Oct-13</c:v>
                </c:pt>
                <c:pt idx="796">
                  <c:v>Oct-13</c:v>
                </c:pt>
                <c:pt idx="797">
                  <c:v>Oct-13</c:v>
                </c:pt>
                <c:pt idx="798">
                  <c:v>Oct-13</c:v>
                </c:pt>
                <c:pt idx="799">
                  <c:v>Oct-13</c:v>
                </c:pt>
                <c:pt idx="800">
                  <c:v>Oct-13</c:v>
                </c:pt>
                <c:pt idx="801">
                  <c:v>Oct-13</c:v>
                </c:pt>
                <c:pt idx="802">
                  <c:v>Oct-13</c:v>
                </c:pt>
                <c:pt idx="803">
                  <c:v>Oct-13</c:v>
                </c:pt>
                <c:pt idx="804">
                  <c:v>Oct-13</c:v>
                </c:pt>
                <c:pt idx="805">
                  <c:v>Oct-13</c:v>
                </c:pt>
                <c:pt idx="806">
                  <c:v>Oct-13</c:v>
                </c:pt>
                <c:pt idx="807">
                  <c:v>Oct-13</c:v>
                </c:pt>
                <c:pt idx="808">
                  <c:v>Oct-13</c:v>
                </c:pt>
                <c:pt idx="809">
                  <c:v>Oct-13</c:v>
                </c:pt>
                <c:pt idx="810">
                  <c:v>Oct-13</c:v>
                </c:pt>
                <c:pt idx="811">
                  <c:v>Oct-13</c:v>
                </c:pt>
                <c:pt idx="812">
                  <c:v>Oct-13</c:v>
                </c:pt>
                <c:pt idx="813">
                  <c:v>Oct-13</c:v>
                </c:pt>
                <c:pt idx="814">
                  <c:v>Oct-13</c:v>
                </c:pt>
                <c:pt idx="815">
                  <c:v>Oct-13</c:v>
                </c:pt>
                <c:pt idx="816">
                  <c:v>Oct-13</c:v>
                </c:pt>
                <c:pt idx="817">
                  <c:v>Oct-13</c:v>
                </c:pt>
                <c:pt idx="818">
                  <c:v>Nov-13</c:v>
                </c:pt>
                <c:pt idx="819">
                  <c:v>Nov-13</c:v>
                </c:pt>
                <c:pt idx="820">
                  <c:v>Nov-13</c:v>
                </c:pt>
                <c:pt idx="821">
                  <c:v>Nov-13</c:v>
                </c:pt>
                <c:pt idx="822">
                  <c:v>Nov-13</c:v>
                </c:pt>
                <c:pt idx="823">
                  <c:v>Nov-13</c:v>
                </c:pt>
                <c:pt idx="824">
                  <c:v>Nov-13</c:v>
                </c:pt>
                <c:pt idx="825">
                  <c:v>Nov-13</c:v>
                </c:pt>
                <c:pt idx="826">
                  <c:v>Nov-13</c:v>
                </c:pt>
                <c:pt idx="827">
                  <c:v>Nov-13</c:v>
                </c:pt>
                <c:pt idx="828">
                  <c:v>Nov-13</c:v>
                </c:pt>
                <c:pt idx="829">
                  <c:v>Nov-13</c:v>
                </c:pt>
                <c:pt idx="830">
                  <c:v>Nov-13</c:v>
                </c:pt>
                <c:pt idx="831">
                  <c:v>Nov-13</c:v>
                </c:pt>
                <c:pt idx="832">
                  <c:v>Nov-13</c:v>
                </c:pt>
                <c:pt idx="833">
                  <c:v>Nov-13</c:v>
                </c:pt>
                <c:pt idx="834">
                  <c:v>Nov-13</c:v>
                </c:pt>
                <c:pt idx="835">
                  <c:v>Nov-13</c:v>
                </c:pt>
                <c:pt idx="836">
                  <c:v>Nov-13</c:v>
                </c:pt>
                <c:pt idx="837">
                  <c:v>Nov-13</c:v>
                </c:pt>
                <c:pt idx="838">
                  <c:v>Nov-13</c:v>
                </c:pt>
                <c:pt idx="839">
                  <c:v>Dec-13</c:v>
                </c:pt>
                <c:pt idx="840">
                  <c:v>Dec-13</c:v>
                </c:pt>
                <c:pt idx="841">
                  <c:v>Dec-13</c:v>
                </c:pt>
                <c:pt idx="842">
                  <c:v>Dec-13</c:v>
                </c:pt>
                <c:pt idx="843">
                  <c:v>Dec-13</c:v>
                </c:pt>
                <c:pt idx="844">
                  <c:v>Dec-13</c:v>
                </c:pt>
                <c:pt idx="845">
                  <c:v>Dec-13</c:v>
                </c:pt>
                <c:pt idx="846">
                  <c:v>Dec-13</c:v>
                </c:pt>
                <c:pt idx="847">
                  <c:v>Dec-13</c:v>
                </c:pt>
                <c:pt idx="848">
                  <c:v>Dec-13</c:v>
                </c:pt>
                <c:pt idx="849">
                  <c:v>Dec-13</c:v>
                </c:pt>
                <c:pt idx="850">
                  <c:v>Dec-13</c:v>
                </c:pt>
                <c:pt idx="851">
                  <c:v>Dec-13</c:v>
                </c:pt>
                <c:pt idx="852">
                  <c:v>Dec-13</c:v>
                </c:pt>
                <c:pt idx="853">
                  <c:v>Dec-13</c:v>
                </c:pt>
                <c:pt idx="854">
                  <c:v>Dec-13</c:v>
                </c:pt>
                <c:pt idx="855">
                  <c:v>Dec-13</c:v>
                </c:pt>
                <c:pt idx="856">
                  <c:v>Dec-13</c:v>
                </c:pt>
                <c:pt idx="857">
                  <c:v>Dec-13</c:v>
                </c:pt>
                <c:pt idx="858">
                  <c:v>Dec-13</c:v>
                </c:pt>
                <c:pt idx="859">
                  <c:v>Jan-14</c:v>
                </c:pt>
                <c:pt idx="860">
                  <c:v>Jan-14</c:v>
                </c:pt>
                <c:pt idx="861">
                  <c:v>Jan-14</c:v>
                </c:pt>
                <c:pt idx="862">
                  <c:v>Jan-14</c:v>
                </c:pt>
                <c:pt idx="863">
                  <c:v>Jan-14</c:v>
                </c:pt>
                <c:pt idx="864">
                  <c:v>Jan-14</c:v>
                </c:pt>
                <c:pt idx="865">
                  <c:v>Jan-14</c:v>
                </c:pt>
                <c:pt idx="866">
                  <c:v>Jan-14</c:v>
                </c:pt>
                <c:pt idx="867">
                  <c:v>Jan-14</c:v>
                </c:pt>
                <c:pt idx="868">
                  <c:v>Jan-14</c:v>
                </c:pt>
                <c:pt idx="869">
                  <c:v>Jan-14</c:v>
                </c:pt>
                <c:pt idx="870">
                  <c:v>Jan-14</c:v>
                </c:pt>
                <c:pt idx="871">
                  <c:v>Jan-14</c:v>
                </c:pt>
                <c:pt idx="872">
                  <c:v>Jan-14</c:v>
                </c:pt>
                <c:pt idx="873">
                  <c:v>Jan-14</c:v>
                </c:pt>
                <c:pt idx="874">
                  <c:v>Jan-14</c:v>
                </c:pt>
                <c:pt idx="875">
                  <c:v>Jan-14</c:v>
                </c:pt>
                <c:pt idx="876">
                  <c:v>Jan-14</c:v>
                </c:pt>
                <c:pt idx="877">
                  <c:v>Jan-14</c:v>
                </c:pt>
                <c:pt idx="878">
                  <c:v>Jan-14</c:v>
                </c:pt>
                <c:pt idx="879">
                  <c:v>Jan-14</c:v>
                </c:pt>
                <c:pt idx="880">
                  <c:v>Jan-14</c:v>
                </c:pt>
                <c:pt idx="881">
                  <c:v>Feb-14</c:v>
                </c:pt>
                <c:pt idx="882">
                  <c:v>Feb-14</c:v>
                </c:pt>
                <c:pt idx="883">
                  <c:v>Feb-14</c:v>
                </c:pt>
                <c:pt idx="884">
                  <c:v>Feb-14</c:v>
                </c:pt>
                <c:pt idx="885">
                  <c:v>Feb-14</c:v>
                </c:pt>
                <c:pt idx="886">
                  <c:v>Feb-14</c:v>
                </c:pt>
                <c:pt idx="887">
                  <c:v>Feb-14</c:v>
                </c:pt>
                <c:pt idx="888">
                  <c:v>Feb-14</c:v>
                </c:pt>
                <c:pt idx="889">
                  <c:v>Feb-14</c:v>
                </c:pt>
                <c:pt idx="890">
                  <c:v>Feb-14</c:v>
                </c:pt>
                <c:pt idx="891">
                  <c:v>Feb-14</c:v>
                </c:pt>
                <c:pt idx="892">
                  <c:v>Feb-14</c:v>
                </c:pt>
                <c:pt idx="893">
                  <c:v>Feb-14</c:v>
                </c:pt>
                <c:pt idx="894">
                  <c:v>Feb-14</c:v>
                </c:pt>
                <c:pt idx="895">
                  <c:v>Feb-14</c:v>
                </c:pt>
                <c:pt idx="896">
                  <c:v>Feb-14</c:v>
                </c:pt>
                <c:pt idx="897">
                  <c:v>Feb-14</c:v>
                </c:pt>
                <c:pt idx="898">
                  <c:v>Feb-14</c:v>
                </c:pt>
                <c:pt idx="899">
                  <c:v>Feb-14</c:v>
                </c:pt>
                <c:pt idx="900">
                  <c:v>Feb-14</c:v>
                </c:pt>
                <c:pt idx="901">
                  <c:v>Mar-14</c:v>
                </c:pt>
                <c:pt idx="902">
                  <c:v>Mar-14</c:v>
                </c:pt>
                <c:pt idx="903">
                  <c:v>Mar-14</c:v>
                </c:pt>
                <c:pt idx="904">
                  <c:v>Mar-14</c:v>
                </c:pt>
                <c:pt idx="905">
                  <c:v>Mar-14</c:v>
                </c:pt>
                <c:pt idx="906">
                  <c:v>Mar-14</c:v>
                </c:pt>
                <c:pt idx="907">
                  <c:v>Mar-14</c:v>
                </c:pt>
                <c:pt idx="908">
                  <c:v>Mar-14</c:v>
                </c:pt>
                <c:pt idx="909">
                  <c:v>Mar-14</c:v>
                </c:pt>
                <c:pt idx="910">
                  <c:v>Mar-14</c:v>
                </c:pt>
                <c:pt idx="911">
                  <c:v>Mar-14</c:v>
                </c:pt>
                <c:pt idx="912">
                  <c:v>Mar-14</c:v>
                </c:pt>
                <c:pt idx="913">
                  <c:v>Mar-14</c:v>
                </c:pt>
                <c:pt idx="914">
                  <c:v>Mar-14</c:v>
                </c:pt>
                <c:pt idx="915">
                  <c:v>Mar-14</c:v>
                </c:pt>
                <c:pt idx="916">
                  <c:v>Mar-14</c:v>
                </c:pt>
                <c:pt idx="917">
                  <c:v>Mar-14</c:v>
                </c:pt>
                <c:pt idx="918">
                  <c:v>Mar-14</c:v>
                </c:pt>
                <c:pt idx="919">
                  <c:v>Mar-14</c:v>
                </c:pt>
                <c:pt idx="920">
                  <c:v>Mar-14</c:v>
                </c:pt>
                <c:pt idx="921">
                  <c:v>Mar-14</c:v>
                </c:pt>
                <c:pt idx="922">
                  <c:v>Apr-14</c:v>
                </c:pt>
                <c:pt idx="923">
                  <c:v>Apr-14</c:v>
                </c:pt>
                <c:pt idx="924">
                  <c:v>Apr-14</c:v>
                </c:pt>
                <c:pt idx="925">
                  <c:v>Apr-14</c:v>
                </c:pt>
                <c:pt idx="926">
                  <c:v>Apr-14</c:v>
                </c:pt>
                <c:pt idx="927">
                  <c:v>Apr-14</c:v>
                </c:pt>
                <c:pt idx="928">
                  <c:v>Apr-14</c:v>
                </c:pt>
                <c:pt idx="929">
                  <c:v>Apr-14</c:v>
                </c:pt>
                <c:pt idx="930">
                  <c:v>Apr-14</c:v>
                </c:pt>
                <c:pt idx="931">
                  <c:v>Apr-14</c:v>
                </c:pt>
                <c:pt idx="932">
                  <c:v>Apr-14</c:v>
                </c:pt>
                <c:pt idx="933">
                  <c:v>Apr-14</c:v>
                </c:pt>
                <c:pt idx="934">
                  <c:v>Apr-14</c:v>
                </c:pt>
                <c:pt idx="935">
                  <c:v>Apr-14</c:v>
                </c:pt>
                <c:pt idx="936">
                  <c:v>Apr-14</c:v>
                </c:pt>
                <c:pt idx="937">
                  <c:v>Apr-14</c:v>
                </c:pt>
                <c:pt idx="938">
                  <c:v>Apr-14</c:v>
                </c:pt>
                <c:pt idx="939">
                  <c:v>Apr-14</c:v>
                </c:pt>
                <c:pt idx="940">
                  <c:v>Apr-14</c:v>
                </c:pt>
                <c:pt idx="941">
                  <c:v>Apr-14</c:v>
                </c:pt>
                <c:pt idx="942">
                  <c:v>May-14</c:v>
                </c:pt>
                <c:pt idx="943">
                  <c:v>May-14</c:v>
                </c:pt>
                <c:pt idx="944">
                  <c:v>May-14</c:v>
                </c:pt>
                <c:pt idx="945">
                  <c:v>May-14</c:v>
                </c:pt>
                <c:pt idx="946">
                  <c:v>May-14</c:v>
                </c:pt>
                <c:pt idx="947">
                  <c:v>May-14</c:v>
                </c:pt>
                <c:pt idx="948">
                  <c:v>May-14</c:v>
                </c:pt>
                <c:pt idx="949">
                  <c:v>May-14</c:v>
                </c:pt>
                <c:pt idx="950">
                  <c:v>May-14</c:v>
                </c:pt>
                <c:pt idx="951">
                  <c:v>May-14</c:v>
                </c:pt>
                <c:pt idx="952">
                  <c:v>May-14</c:v>
                </c:pt>
                <c:pt idx="953">
                  <c:v>May-14</c:v>
                </c:pt>
                <c:pt idx="954">
                  <c:v>May-14</c:v>
                </c:pt>
                <c:pt idx="955">
                  <c:v>May-14</c:v>
                </c:pt>
                <c:pt idx="956">
                  <c:v>May-14</c:v>
                </c:pt>
                <c:pt idx="957">
                  <c:v>May-14</c:v>
                </c:pt>
                <c:pt idx="958">
                  <c:v>May-14</c:v>
                </c:pt>
                <c:pt idx="959">
                  <c:v>May-14</c:v>
                </c:pt>
                <c:pt idx="960">
                  <c:v>May-14</c:v>
                </c:pt>
                <c:pt idx="961">
                  <c:v>May-14</c:v>
                </c:pt>
                <c:pt idx="962">
                  <c:v>May-14</c:v>
                </c:pt>
                <c:pt idx="963">
                  <c:v>May-14</c:v>
                </c:pt>
                <c:pt idx="964">
                  <c:v>Jun-14</c:v>
                </c:pt>
                <c:pt idx="965">
                  <c:v>Jun-14</c:v>
                </c:pt>
                <c:pt idx="966">
                  <c:v>Jun-14</c:v>
                </c:pt>
                <c:pt idx="967">
                  <c:v>Jun-14</c:v>
                </c:pt>
                <c:pt idx="968">
                  <c:v>Jun-14</c:v>
                </c:pt>
                <c:pt idx="969">
                  <c:v>Jun-14</c:v>
                </c:pt>
                <c:pt idx="970">
                  <c:v>Jun-14</c:v>
                </c:pt>
                <c:pt idx="971">
                  <c:v>Jun-14</c:v>
                </c:pt>
                <c:pt idx="972">
                  <c:v>Jun-14</c:v>
                </c:pt>
                <c:pt idx="973">
                  <c:v>Jun-14</c:v>
                </c:pt>
                <c:pt idx="974">
                  <c:v>Jun-14</c:v>
                </c:pt>
                <c:pt idx="975">
                  <c:v>Jun-14</c:v>
                </c:pt>
                <c:pt idx="976">
                  <c:v>Jun-14</c:v>
                </c:pt>
                <c:pt idx="977">
                  <c:v>Jun-14</c:v>
                </c:pt>
                <c:pt idx="978">
                  <c:v>Jun-14</c:v>
                </c:pt>
                <c:pt idx="979">
                  <c:v>Jun-14</c:v>
                </c:pt>
                <c:pt idx="980">
                  <c:v>Jun-14</c:v>
                </c:pt>
                <c:pt idx="981">
                  <c:v>Jun-14</c:v>
                </c:pt>
                <c:pt idx="982">
                  <c:v>Jun-14</c:v>
                </c:pt>
                <c:pt idx="983">
                  <c:v>Jun-14</c:v>
                </c:pt>
                <c:pt idx="984">
                  <c:v>Jun-14</c:v>
                </c:pt>
                <c:pt idx="985">
                  <c:v>Jul-14</c:v>
                </c:pt>
                <c:pt idx="986">
                  <c:v>Jul-14</c:v>
                </c:pt>
                <c:pt idx="987">
                  <c:v>Jul-14</c:v>
                </c:pt>
                <c:pt idx="988">
                  <c:v>Jul-14</c:v>
                </c:pt>
                <c:pt idx="989">
                  <c:v>Jul-14</c:v>
                </c:pt>
                <c:pt idx="990">
                  <c:v>Jul-14</c:v>
                </c:pt>
                <c:pt idx="991">
                  <c:v>Jul-14</c:v>
                </c:pt>
                <c:pt idx="992">
                  <c:v>Jul-14</c:v>
                </c:pt>
                <c:pt idx="993">
                  <c:v>Jul-14</c:v>
                </c:pt>
                <c:pt idx="994">
                  <c:v>Jul-14</c:v>
                </c:pt>
                <c:pt idx="995">
                  <c:v>Jul-14</c:v>
                </c:pt>
                <c:pt idx="996">
                  <c:v>Jul-14</c:v>
                </c:pt>
                <c:pt idx="997">
                  <c:v>Jul-14</c:v>
                </c:pt>
                <c:pt idx="998">
                  <c:v>Jul-14</c:v>
                </c:pt>
                <c:pt idx="999">
                  <c:v>Jul-14</c:v>
                </c:pt>
                <c:pt idx="1000">
                  <c:v>Jul-14</c:v>
                </c:pt>
                <c:pt idx="1001">
                  <c:v>Jul-14</c:v>
                </c:pt>
                <c:pt idx="1002">
                  <c:v>Jul-14</c:v>
                </c:pt>
                <c:pt idx="1003">
                  <c:v>Jul-14</c:v>
                </c:pt>
                <c:pt idx="1004">
                  <c:v>Jul-14</c:v>
                </c:pt>
                <c:pt idx="1005">
                  <c:v>Jul-14</c:v>
                </c:pt>
                <c:pt idx="1006">
                  <c:v>Jul-14</c:v>
                </c:pt>
                <c:pt idx="1007">
                  <c:v>Jul-14</c:v>
                </c:pt>
                <c:pt idx="1008">
                  <c:v>Aug-14</c:v>
                </c:pt>
                <c:pt idx="1009">
                  <c:v>Aug-14</c:v>
                </c:pt>
                <c:pt idx="1010">
                  <c:v>Aug-14</c:v>
                </c:pt>
                <c:pt idx="1011">
                  <c:v>Aug-14</c:v>
                </c:pt>
                <c:pt idx="1012">
                  <c:v>Aug-14</c:v>
                </c:pt>
                <c:pt idx="1013">
                  <c:v>Aug-14</c:v>
                </c:pt>
                <c:pt idx="1014">
                  <c:v>Aug-14</c:v>
                </c:pt>
                <c:pt idx="1015">
                  <c:v>Aug-14</c:v>
                </c:pt>
                <c:pt idx="1016">
                  <c:v>Aug-14</c:v>
                </c:pt>
                <c:pt idx="1017">
                  <c:v>Aug-14</c:v>
                </c:pt>
                <c:pt idx="1018">
                  <c:v>Aug-14</c:v>
                </c:pt>
                <c:pt idx="1019">
                  <c:v>Aug-14</c:v>
                </c:pt>
                <c:pt idx="1020">
                  <c:v>Aug-14</c:v>
                </c:pt>
                <c:pt idx="1021">
                  <c:v>Aug-14</c:v>
                </c:pt>
                <c:pt idx="1022">
                  <c:v>Aug-14</c:v>
                </c:pt>
                <c:pt idx="1023">
                  <c:v>Aug-14</c:v>
                </c:pt>
                <c:pt idx="1024">
                  <c:v>Aug-14</c:v>
                </c:pt>
                <c:pt idx="1025">
                  <c:v>Aug-14</c:v>
                </c:pt>
                <c:pt idx="1026">
                  <c:v>Aug-14</c:v>
                </c:pt>
                <c:pt idx="1027">
                  <c:v>Aug-14</c:v>
                </c:pt>
                <c:pt idx="1028">
                  <c:v>Aug-14</c:v>
                </c:pt>
                <c:pt idx="1029">
                  <c:v>Sep-14</c:v>
                </c:pt>
                <c:pt idx="1030">
                  <c:v>Sep-14</c:v>
                </c:pt>
                <c:pt idx="1031">
                  <c:v>Sep-14</c:v>
                </c:pt>
                <c:pt idx="1032">
                  <c:v>Sep-14</c:v>
                </c:pt>
                <c:pt idx="1033">
                  <c:v>Sep-14</c:v>
                </c:pt>
                <c:pt idx="1034">
                  <c:v>Sep-14</c:v>
                </c:pt>
                <c:pt idx="1035">
                  <c:v>Sep-14</c:v>
                </c:pt>
                <c:pt idx="1036">
                  <c:v>Sep-14</c:v>
                </c:pt>
                <c:pt idx="1037">
                  <c:v>Sep-14</c:v>
                </c:pt>
                <c:pt idx="1038">
                  <c:v>Sep-14</c:v>
                </c:pt>
                <c:pt idx="1039">
                  <c:v>Sep-14</c:v>
                </c:pt>
                <c:pt idx="1040">
                  <c:v>Sep-14</c:v>
                </c:pt>
                <c:pt idx="1041">
                  <c:v>Sep-14</c:v>
                </c:pt>
                <c:pt idx="1042">
                  <c:v>Sep-14</c:v>
                </c:pt>
                <c:pt idx="1043">
                  <c:v>Sep-14</c:v>
                </c:pt>
                <c:pt idx="1044">
                  <c:v>Sep-14</c:v>
                </c:pt>
                <c:pt idx="1045">
                  <c:v>Sep-14</c:v>
                </c:pt>
                <c:pt idx="1046">
                  <c:v>Sep-14</c:v>
                </c:pt>
                <c:pt idx="1047">
                  <c:v>Sep-14</c:v>
                </c:pt>
                <c:pt idx="1048">
                  <c:v>Sep-14</c:v>
                </c:pt>
                <c:pt idx="1049">
                  <c:v>Sep-14</c:v>
                </c:pt>
                <c:pt idx="1050">
                  <c:v>Sep-14</c:v>
                </c:pt>
                <c:pt idx="1051">
                  <c:v>Oct-14</c:v>
                </c:pt>
                <c:pt idx="1052">
                  <c:v>Oct-14</c:v>
                </c:pt>
                <c:pt idx="1053">
                  <c:v>Oct-14</c:v>
                </c:pt>
                <c:pt idx="1054">
                  <c:v>Oct-14</c:v>
                </c:pt>
                <c:pt idx="1055">
                  <c:v>Oct-14</c:v>
                </c:pt>
                <c:pt idx="1056">
                  <c:v>Oct-14</c:v>
                </c:pt>
                <c:pt idx="1057">
                  <c:v>Oct-14</c:v>
                </c:pt>
                <c:pt idx="1058">
                  <c:v>Oct-14</c:v>
                </c:pt>
                <c:pt idx="1059">
                  <c:v>Oct-14</c:v>
                </c:pt>
                <c:pt idx="1060">
                  <c:v>Oct-14</c:v>
                </c:pt>
                <c:pt idx="1061">
                  <c:v>Oct-14</c:v>
                </c:pt>
                <c:pt idx="1062">
                  <c:v>Oct-14</c:v>
                </c:pt>
                <c:pt idx="1063">
                  <c:v>Oct-14</c:v>
                </c:pt>
                <c:pt idx="1064">
                  <c:v>Oct-14</c:v>
                </c:pt>
                <c:pt idx="1065">
                  <c:v>Oct-14</c:v>
                </c:pt>
                <c:pt idx="1066">
                  <c:v>Oct-14</c:v>
                </c:pt>
                <c:pt idx="1067">
                  <c:v>Oct-14</c:v>
                </c:pt>
                <c:pt idx="1068">
                  <c:v>Oct-14</c:v>
                </c:pt>
                <c:pt idx="1069">
                  <c:v>Oct-14</c:v>
                </c:pt>
                <c:pt idx="1070">
                  <c:v>Oct-14</c:v>
                </c:pt>
                <c:pt idx="1071">
                  <c:v>Oct-14</c:v>
                </c:pt>
                <c:pt idx="1072">
                  <c:v>Oct-14</c:v>
                </c:pt>
                <c:pt idx="1073">
                  <c:v>Oct-14</c:v>
                </c:pt>
                <c:pt idx="1074">
                  <c:v>Nov-14</c:v>
                </c:pt>
                <c:pt idx="1075">
                  <c:v>Nov-14</c:v>
                </c:pt>
                <c:pt idx="1076">
                  <c:v>Nov-14</c:v>
                </c:pt>
                <c:pt idx="1077">
                  <c:v>Nov-14</c:v>
                </c:pt>
                <c:pt idx="1078">
                  <c:v>Nov-14</c:v>
                </c:pt>
                <c:pt idx="1079">
                  <c:v>Nov-14</c:v>
                </c:pt>
                <c:pt idx="1080">
                  <c:v>Nov-14</c:v>
                </c:pt>
                <c:pt idx="1081">
                  <c:v>Nov-14</c:v>
                </c:pt>
                <c:pt idx="1082">
                  <c:v>Nov-14</c:v>
                </c:pt>
                <c:pt idx="1083">
                  <c:v>Nov-14</c:v>
                </c:pt>
                <c:pt idx="1084">
                  <c:v>Nov-14</c:v>
                </c:pt>
                <c:pt idx="1085">
                  <c:v>Nov-14</c:v>
                </c:pt>
                <c:pt idx="1086">
                  <c:v>Nov-14</c:v>
                </c:pt>
                <c:pt idx="1087">
                  <c:v>Nov-14</c:v>
                </c:pt>
                <c:pt idx="1088">
                  <c:v>Nov-14</c:v>
                </c:pt>
                <c:pt idx="1089">
                  <c:v>Nov-14</c:v>
                </c:pt>
                <c:pt idx="1090">
                  <c:v>Nov-14</c:v>
                </c:pt>
                <c:pt idx="1091">
                  <c:v>Nov-14</c:v>
                </c:pt>
                <c:pt idx="1092">
                  <c:v>Nov-14</c:v>
                </c:pt>
                <c:pt idx="1093">
                  <c:v>Nov-14</c:v>
                </c:pt>
                <c:pt idx="1094">
                  <c:v>Dec-14</c:v>
                </c:pt>
                <c:pt idx="1095">
                  <c:v>Dec-14</c:v>
                </c:pt>
                <c:pt idx="1096">
                  <c:v>Dec-14</c:v>
                </c:pt>
                <c:pt idx="1097">
                  <c:v>Dec-14</c:v>
                </c:pt>
                <c:pt idx="1098">
                  <c:v>Dec-14</c:v>
                </c:pt>
                <c:pt idx="1099">
                  <c:v>Dec-14</c:v>
                </c:pt>
                <c:pt idx="1100">
                  <c:v>Dec-14</c:v>
                </c:pt>
                <c:pt idx="1101">
                  <c:v>Dec-14</c:v>
                </c:pt>
                <c:pt idx="1102">
                  <c:v>Dec-14</c:v>
                </c:pt>
                <c:pt idx="1103">
                  <c:v>Dec-14</c:v>
                </c:pt>
                <c:pt idx="1104">
                  <c:v>Dec-14</c:v>
                </c:pt>
                <c:pt idx="1105">
                  <c:v>Dec-14</c:v>
                </c:pt>
                <c:pt idx="1106">
                  <c:v>Dec-14</c:v>
                </c:pt>
                <c:pt idx="1107">
                  <c:v>Dec-14</c:v>
                </c:pt>
                <c:pt idx="1108">
                  <c:v>Dec-14</c:v>
                </c:pt>
                <c:pt idx="1109">
                  <c:v>Dec-14</c:v>
                </c:pt>
                <c:pt idx="1110">
                  <c:v>Dec-14</c:v>
                </c:pt>
                <c:pt idx="1111">
                  <c:v>Dec-14</c:v>
                </c:pt>
                <c:pt idx="1112">
                  <c:v>Dec-14</c:v>
                </c:pt>
                <c:pt idx="1113">
                  <c:v>Dec-14</c:v>
                </c:pt>
                <c:pt idx="1114">
                  <c:v>Dec-14</c:v>
                </c:pt>
                <c:pt idx="1115">
                  <c:v>Jan-15</c:v>
                </c:pt>
                <c:pt idx="1116">
                  <c:v>Jan-15</c:v>
                </c:pt>
                <c:pt idx="1117">
                  <c:v>Jan-15</c:v>
                </c:pt>
                <c:pt idx="1118">
                  <c:v>Jan-15</c:v>
                </c:pt>
                <c:pt idx="1119">
                  <c:v>Jan-15</c:v>
                </c:pt>
                <c:pt idx="1120">
                  <c:v>Jan-15</c:v>
                </c:pt>
                <c:pt idx="1121">
                  <c:v>Jan-15</c:v>
                </c:pt>
                <c:pt idx="1122">
                  <c:v>Jan-15</c:v>
                </c:pt>
                <c:pt idx="1123">
                  <c:v>Jan-15</c:v>
                </c:pt>
                <c:pt idx="1124">
                  <c:v>Jan-15</c:v>
                </c:pt>
                <c:pt idx="1125">
                  <c:v>Jan-15</c:v>
                </c:pt>
                <c:pt idx="1126">
                  <c:v>Jan-15</c:v>
                </c:pt>
                <c:pt idx="1127">
                  <c:v>Jan-15</c:v>
                </c:pt>
                <c:pt idx="1128">
                  <c:v>Jan-15</c:v>
                </c:pt>
                <c:pt idx="1129">
                  <c:v>Jan-15</c:v>
                </c:pt>
                <c:pt idx="1130">
                  <c:v>Jan-15</c:v>
                </c:pt>
                <c:pt idx="1131">
                  <c:v>Jan-15</c:v>
                </c:pt>
                <c:pt idx="1132">
                  <c:v>Jan-15</c:v>
                </c:pt>
                <c:pt idx="1133">
                  <c:v>Jan-15</c:v>
                </c:pt>
                <c:pt idx="1134">
                  <c:v>Jan-15</c:v>
                </c:pt>
                <c:pt idx="1135">
                  <c:v>Jan-15</c:v>
                </c:pt>
                <c:pt idx="1136">
                  <c:v>Feb-15</c:v>
                </c:pt>
                <c:pt idx="1137">
                  <c:v>Feb-15</c:v>
                </c:pt>
                <c:pt idx="1138">
                  <c:v>Feb-15</c:v>
                </c:pt>
                <c:pt idx="1139">
                  <c:v>Feb-15</c:v>
                </c:pt>
                <c:pt idx="1140">
                  <c:v>Feb-15</c:v>
                </c:pt>
                <c:pt idx="1141">
                  <c:v>Feb-15</c:v>
                </c:pt>
                <c:pt idx="1142">
                  <c:v>Feb-15</c:v>
                </c:pt>
                <c:pt idx="1143">
                  <c:v>Feb-15</c:v>
                </c:pt>
                <c:pt idx="1144">
                  <c:v>Feb-15</c:v>
                </c:pt>
                <c:pt idx="1145">
                  <c:v>Feb-15</c:v>
                </c:pt>
                <c:pt idx="1146">
                  <c:v>Feb-15</c:v>
                </c:pt>
                <c:pt idx="1147">
                  <c:v>Feb-15</c:v>
                </c:pt>
                <c:pt idx="1148">
                  <c:v>Feb-15</c:v>
                </c:pt>
                <c:pt idx="1149">
                  <c:v>Feb-15</c:v>
                </c:pt>
                <c:pt idx="1150">
                  <c:v>Feb-15</c:v>
                </c:pt>
                <c:pt idx="1151">
                  <c:v>Feb-15</c:v>
                </c:pt>
                <c:pt idx="1152">
                  <c:v>Feb-15</c:v>
                </c:pt>
                <c:pt idx="1153">
                  <c:v>Feb-15</c:v>
                </c:pt>
                <c:pt idx="1154">
                  <c:v>Feb-15</c:v>
                </c:pt>
                <c:pt idx="1155">
                  <c:v>Feb-15</c:v>
                </c:pt>
                <c:pt idx="1156">
                  <c:v>Mar-15</c:v>
                </c:pt>
                <c:pt idx="1157">
                  <c:v>Mar-15</c:v>
                </c:pt>
                <c:pt idx="1158">
                  <c:v>Mar-15</c:v>
                </c:pt>
                <c:pt idx="1159">
                  <c:v>Mar-15</c:v>
                </c:pt>
                <c:pt idx="1160">
                  <c:v>Mar-15</c:v>
                </c:pt>
                <c:pt idx="1161">
                  <c:v>Mar-15</c:v>
                </c:pt>
                <c:pt idx="1162">
                  <c:v>Mar-15</c:v>
                </c:pt>
                <c:pt idx="1163">
                  <c:v>Mar-15</c:v>
                </c:pt>
                <c:pt idx="1164">
                  <c:v>Mar-15</c:v>
                </c:pt>
                <c:pt idx="1165">
                  <c:v>Mar-15</c:v>
                </c:pt>
                <c:pt idx="1166">
                  <c:v>Mar-15</c:v>
                </c:pt>
                <c:pt idx="1167">
                  <c:v>Mar-15</c:v>
                </c:pt>
                <c:pt idx="1168">
                  <c:v>Mar-15</c:v>
                </c:pt>
                <c:pt idx="1169">
                  <c:v>Mar-15</c:v>
                </c:pt>
                <c:pt idx="1170">
                  <c:v>Mar-15</c:v>
                </c:pt>
                <c:pt idx="1171">
                  <c:v>Mar-15</c:v>
                </c:pt>
                <c:pt idx="1172">
                  <c:v>Mar-15</c:v>
                </c:pt>
                <c:pt idx="1173">
                  <c:v>Mar-15</c:v>
                </c:pt>
                <c:pt idx="1174">
                  <c:v>Mar-15</c:v>
                </c:pt>
                <c:pt idx="1175">
                  <c:v>Mar-15</c:v>
                </c:pt>
                <c:pt idx="1176">
                  <c:v>Mar-15</c:v>
                </c:pt>
                <c:pt idx="1177">
                  <c:v>Mar-15</c:v>
                </c:pt>
                <c:pt idx="1178">
                  <c:v>Apr-15</c:v>
                </c:pt>
                <c:pt idx="1179">
                  <c:v>Apr-15</c:v>
                </c:pt>
                <c:pt idx="1180">
                  <c:v>Apr-15</c:v>
                </c:pt>
                <c:pt idx="1181">
                  <c:v>Apr-15</c:v>
                </c:pt>
                <c:pt idx="1182">
                  <c:v>Apr-15</c:v>
                </c:pt>
                <c:pt idx="1183">
                  <c:v>Apr-15</c:v>
                </c:pt>
                <c:pt idx="1184">
                  <c:v>Apr-15</c:v>
                </c:pt>
                <c:pt idx="1185">
                  <c:v>Apr-15</c:v>
                </c:pt>
                <c:pt idx="1186">
                  <c:v>Apr-15</c:v>
                </c:pt>
                <c:pt idx="1187">
                  <c:v>Apr-15</c:v>
                </c:pt>
                <c:pt idx="1188">
                  <c:v>Apr-15</c:v>
                </c:pt>
                <c:pt idx="1189">
                  <c:v>Apr-15</c:v>
                </c:pt>
                <c:pt idx="1190">
                  <c:v>Apr-15</c:v>
                </c:pt>
                <c:pt idx="1191">
                  <c:v>Apr-15</c:v>
                </c:pt>
                <c:pt idx="1192">
                  <c:v>Apr-15</c:v>
                </c:pt>
                <c:pt idx="1193">
                  <c:v>Apr-15</c:v>
                </c:pt>
                <c:pt idx="1194">
                  <c:v>Apr-15</c:v>
                </c:pt>
                <c:pt idx="1195">
                  <c:v>Apr-15</c:v>
                </c:pt>
                <c:pt idx="1196">
                  <c:v>Apr-15</c:v>
                </c:pt>
                <c:pt idx="1197">
                  <c:v>Apr-15</c:v>
                </c:pt>
                <c:pt idx="1198">
                  <c:v>May-15</c:v>
                </c:pt>
                <c:pt idx="1199">
                  <c:v>May-15</c:v>
                </c:pt>
                <c:pt idx="1200">
                  <c:v>May-15</c:v>
                </c:pt>
                <c:pt idx="1201">
                  <c:v>May-15</c:v>
                </c:pt>
                <c:pt idx="1202">
                  <c:v>May-15</c:v>
                </c:pt>
                <c:pt idx="1203">
                  <c:v>May-15</c:v>
                </c:pt>
                <c:pt idx="1204">
                  <c:v>May-15</c:v>
                </c:pt>
                <c:pt idx="1205">
                  <c:v>May-15</c:v>
                </c:pt>
                <c:pt idx="1206">
                  <c:v>May-15</c:v>
                </c:pt>
                <c:pt idx="1207">
                  <c:v>May-15</c:v>
                </c:pt>
                <c:pt idx="1208">
                  <c:v>May-15</c:v>
                </c:pt>
                <c:pt idx="1209">
                  <c:v>May-15</c:v>
                </c:pt>
                <c:pt idx="1210">
                  <c:v>May-15</c:v>
                </c:pt>
                <c:pt idx="1211">
                  <c:v>May-15</c:v>
                </c:pt>
                <c:pt idx="1212">
                  <c:v>May-15</c:v>
                </c:pt>
                <c:pt idx="1213">
                  <c:v>May-15</c:v>
                </c:pt>
                <c:pt idx="1214">
                  <c:v>May-15</c:v>
                </c:pt>
                <c:pt idx="1215">
                  <c:v>May-15</c:v>
                </c:pt>
                <c:pt idx="1216">
                  <c:v>May-15</c:v>
                </c:pt>
                <c:pt idx="1217">
                  <c:v>May-15</c:v>
                </c:pt>
                <c:pt idx="1218">
                  <c:v>May-15</c:v>
                </c:pt>
                <c:pt idx="1219">
                  <c:v>Jun-15</c:v>
                </c:pt>
                <c:pt idx="1220">
                  <c:v>Jun-15</c:v>
                </c:pt>
                <c:pt idx="1221">
                  <c:v>Jun-15</c:v>
                </c:pt>
                <c:pt idx="1222">
                  <c:v>Jun-15</c:v>
                </c:pt>
                <c:pt idx="1223">
                  <c:v>Jun-15</c:v>
                </c:pt>
                <c:pt idx="1224">
                  <c:v>Jun-15</c:v>
                </c:pt>
                <c:pt idx="1225">
                  <c:v>Jun-15</c:v>
                </c:pt>
                <c:pt idx="1226">
                  <c:v>Jun-15</c:v>
                </c:pt>
                <c:pt idx="1227">
                  <c:v>Jun-15</c:v>
                </c:pt>
                <c:pt idx="1228">
                  <c:v>Jun-15</c:v>
                </c:pt>
                <c:pt idx="1229">
                  <c:v>Jun-15</c:v>
                </c:pt>
                <c:pt idx="1230">
                  <c:v>Jun-15</c:v>
                </c:pt>
                <c:pt idx="1231">
                  <c:v>Jun-15</c:v>
                </c:pt>
                <c:pt idx="1232">
                  <c:v>Jun-15</c:v>
                </c:pt>
                <c:pt idx="1233">
                  <c:v>Jun-15</c:v>
                </c:pt>
                <c:pt idx="1234">
                  <c:v>Jun-15</c:v>
                </c:pt>
                <c:pt idx="1235">
                  <c:v>Jun-15</c:v>
                </c:pt>
                <c:pt idx="1236">
                  <c:v>Jun-15</c:v>
                </c:pt>
                <c:pt idx="1237">
                  <c:v>Jun-15</c:v>
                </c:pt>
                <c:pt idx="1238">
                  <c:v>Jun-15</c:v>
                </c:pt>
                <c:pt idx="1239">
                  <c:v>Jun-15</c:v>
                </c:pt>
                <c:pt idx="1240">
                  <c:v>Jun-15</c:v>
                </c:pt>
                <c:pt idx="1241">
                  <c:v>Jul-15</c:v>
                </c:pt>
                <c:pt idx="1242">
                  <c:v>Jul-15</c:v>
                </c:pt>
                <c:pt idx="1243">
                  <c:v>Jul-15</c:v>
                </c:pt>
                <c:pt idx="1244">
                  <c:v>Jul-15</c:v>
                </c:pt>
                <c:pt idx="1245">
                  <c:v>Jul-15</c:v>
                </c:pt>
                <c:pt idx="1246">
                  <c:v>Jul-15</c:v>
                </c:pt>
                <c:pt idx="1247">
                  <c:v>Jul-15</c:v>
                </c:pt>
                <c:pt idx="1248">
                  <c:v>Jul-15</c:v>
                </c:pt>
                <c:pt idx="1249">
                  <c:v>Jul-15</c:v>
                </c:pt>
                <c:pt idx="1250">
                  <c:v>Jul-15</c:v>
                </c:pt>
                <c:pt idx="1251">
                  <c:v>Jul-15</c:v>
                </c:pt>
                <c:pt idx="1252">
                  <c:v>Jul-15</c:v>
                </c:pt>
                <c:pt idx="1253">
                  <c:v>Jul-15</c:v>
                </c:pt>
                <c:pt idx="1254">
                  <c:v>Jul-15</c:v>
                </c:pt>
                <c:pt idx="1255">
                  <c:v>Jul-15</c:v>
                </c:pt>
                <c:pt idx="1256">
                  <c:v>Jul-15</c:v>
                </c:pt>
                <c:pt idx="1257">
                  <c:v>Jul-15</c:v>
                </c:pt>
                <c:pt idx="1258">
                  <c:v>Jul-15</c:v>
                </c:pt>
                <c:pt idx="1259">
                  <c:v>Jul-15</c:v>
                </c:pt>
                <c:pt idx="1260">
                  <c:v>Jul-15</c:v>
                </c:pt>
                <c:pt idx="1261">
                  <c:v>Jul-15</c:v>
                </c:pt>
                <c:pt idx="1262">
                  <c:v>Jul-15</c:v>
                </c:pt>
                <c:pt idx="1263">
                  <c:v>Aug-15</c:v>
                </c:pt>
                <c:pt idx="1264">
                  <c:v>Aug-15</c:v>
                </c:pt>
                <c:pt idx="1265">
                  <c:v>Aug-15</c:v>
                </c:pt>
                <c:pt idx="1266">
                  <c:v>Aug-15</c:v>
                </c:pt>
                <c:pt idx="1267">
                  <c:v>Aug-15</c:v>
                </c:pt>
                <c:pt idx="1268">
                  <c:v>Aug-15</c:v>
                </c:pt>
                <c:pt idx="1269">
                  <c:v>Aug-15</c:v>
                </c:pt>
                <c:pt idx="1270">
                  <c:v>Aug-15</c:v>
                </c:pt>
                <c:pt idx="1271">
                  <c:v>Aug-15</c:v>
                </c:pt>
                <c:pt idx="1272">
                  <c:v>Aug-15</c:v>
                </c:pt>
                <c:pt idx="1273">
                  <c:v>Aug-15</c:v>
                </c:pt>
                <c:pt idx="1274">
                  <c:v>Aug-15</c:v>
                </c:pt>
                <c:pt idx="1275">
                  <c:v>Aug-15</c:v>
                </c:pt>
                <c:pt idx="1276">
                  <c:v>Aug-15</c:v>
                </c:pt>
                <c:pt idx="1277">
                  <c:v>Aug-15</c:v>
                </c:pt>
                <c:pt idx="1278">
                  <c:v>Aug-15</c:v>
                </c:pt>
                <c:pt idx="1279">
                  <c:v>Aug-15</c:v>
                </c:pt>
                <c:pt idx="1280">
                  <c:v>Aug-15</c:v>
                </c:pt>
                <c:pt idx="1281">
                  <c:v>Aug-15</c:v>
                </c:pt>
                <c:pt idx="1282">
                  <c:v>Aug-15</c:v>
                </c:pt>
                <c:pt idx="1283">
                  <c:v>Aug-15</c:v>
                </c:pt>
                <c:pt idx="1284">
                  <c:v>Sep-15</c:v>
                </c:pt>
                <c:pt idx="1285">
                  <c:v>Sep-15</c:v>
                </c:pt>
                <c:pt idx="1286">
                  <c:v>Sep-15</c:v>
                </c:pt>
                <c:pt idx="1287">
                  <c:v>Sep-15</c:v>
                </c:pt>
                <c:pt idx="1288">
                  <c:v>Sep-15</c:v>
                </c:pt>
                <c:pt idx="1289">
                  <c:v>Sep-15</c:v>
                </c:pt>
                <c:pt idx="1290">
                  <c:v>Sep-15</c:v>
                </c:pt>
                <c:pt idx="1291">
                  <c:v>Sep-15</c:v>
                </c:pt>
                <c:pt idx="1292">
                  <c:v>Sep-15</c:v>
                </c:pt>
                <c:pt idx="1293">
                  <c:v>Sep-15</c:v>
                </c:pt>
                <c:pt idx="1294">
                  <c:v>Sep-15</c:v>
                </c:pt>
                <c:pt idx="1295">
                  <c:v>Sep-15</c:v>
                </c:pt>
                <c:pt idx="1296">
                  <c:v>Sep-15</c:v>
                </c:pt>
                <c:pt idx="1297">
                  <c:v>Sep-15</c:v>
                </c:pt>
                <c:pt idx="1298">
                  <c:v>Sep-15</c:v>
                </c:pt>
                <c:pt idx="1299">
                  <c:v>Sep-15</c:v>
                </c:pt>
                <c:pt idx="1300">
                  <c:v>Sep-15</c:v>
                </c:pt>
                <c:pt idx="1301">
                  <c:v>Sep-15</c:v>
                </c:pt>
                <c:pt idx="1302">
                  <c:v>Sep-15</c:v>
                </c:pt>
                <c:pt idx="1303">
                  <c:v>Sep-15</c:v>
                </c:pt>
                <c:pt idx="1304">
                  <c:v>Sep-15</c:v>
                </c:pt>
                <c:pt idx="1305">
                  <c:v>Sep-15</c:v>
                </c:pt>
              </c:strCache>
            </c:strRef>
          </c:cat>
          <c:val>
            <c:numRef>
              <c:f>Sheet0!$B$2:$B$1307</c:f>
              <c:numCache>
                <c:formatCode>General</c:formatCode>
                <c:ptCount val="1306"/>
                <c:pt idx="0">
                  <c:v>100.02</c:v>
                </c:pt>
                <c:pt idx="1">
                  <c:v>102.54</c:v>
                </c:pt>
                <c:pt idx="2">
                  <c:v>102.47</c:v>
                </c:pt>
                <c:pt idx="3">
                  <c:v>103.23</c:v>
                </c:pt>
                <c:pt idx="4">
                  <c:v>103.55</c:v>
                </c:pt>
                <c:pt idx="5">
                  <c:v>102.49</c:v>
                </c:pt>
                <c:pt idx="6">
                  <c:v>103.17</c:v>
                </c:pt>
                <c:pt idx="7">
                  <c:v>104.17</c:v>
                </c:pt>
                <c:pt idx="8">
                  <c:v>104.08</c:v>
                </c:pt>
                <c:pt idx="9">
                  <c:v>105.06</c:v>
                </c:pt>
                <c:pt idx="10">
                  <c:v>105</c:v>
                </c:pt>
                <c:pt idx="11">
                  <c:v>104.71</c:v>
                </c:pt>
                <c:pt idx="12">
                  <c:v>104.36</c:v>
                </c:pt>
                <c:pt idx="13">
                  <c:v>103.63</c:v>
                </c:pt>
                <c:pt idx="14">
                  <c:v>104.89</c:v>
                </c:pt>
                <c:pt idx="15">
                  <c:v>104.89</c:v>
                </c:pt>
                <c:pt idx="16">
                  <c:v>103.73</c:v>
                </c:pt>
                <c:pt idx="17">
                  <c:v>103.1</c:v>
                </c:pt>
                <c:pt idx="18">
                  <c:v>104.47</c:v>
                </c:pt>
                <c:pt idx="19">
                  <c:v>104.17</c:v>
                </c:pt>
                <c:pt idx="20">
                  <c:v>104.39</c:v>
                </c:pt>
                <c:pt idx="21">
                  <c:v>104.03</c:v>
                </c:pt>
                <c:pt idx="22">
                  <c:v>103.68</c:v>
                </c:pt>
                <c:pt idx="23">
                  <c:v>103.39</c:v>
                </c:pt>
                <c:pt idx="24">
                  <c:v>102.75</c:v>
                </c:pt>
                <c:pt idx="25">
                  <c:v>104.12</c:v>
                </c:pt>
                <c:pt idx="26">
                  <c:v>104.92</c:v>
                </c:pt>
                <c:pt idx="27">
                  <c:v>104.96</c:v>
                </c:pt>
                <c:pt idx="28">
                  <c:v>104.62</c:v>
                </c:pt>
                <c:pt idx="29">
                  <c:v>104.74</c:v>
                </c:pt>
                <c:pt idx="30">
                  <c:v>104.18</c:v>
                </c:pt>
                <c:pt idx="31">
                  <c:v>105.85</c:v>
                </c:pt>
                <c:pt idx="32">
                  <c:v>105.68</c:v>
                </c:pt>
                <c:pt idx="33">
                  <c:v>105.84</c:v>
                </c:pt>
                <c:pt idx="34">
                  <c:v>106.09</c:v>
                </c:pt>
                <c:pt idx="35">
                  <c:v>105.92</c:v>
                </c:pt>
                <c:pt idx="36">
                  <c:v>106.51</c:v>
                </c:pt>
                <c:pt idx="37">
                  <c:v>107.7</c:v>
                </c:pt>
                <c:pt idx="38">
                  <c:v>107.47</c:v>
                </c:pt>
                <c:pt idx="39">
                  <c:v>107.45</c:v>
                </c:pt>
                <c:pt idx="40">
                  <c:v>107.23</c:v>
                </c:pt>
                <c:pt idx="41">
                  <c:v>106.67</c:v>
                </c:pt>
                <c:pt idx="42">
                  <c:v>107.42</c:v>
                </c:pt>
                <c:pt idx="43">
                  <c:v>107.36</c:v>
                </c:pt>
                <c:pt idx="44">
                  <c:v>107.29</c:v>
                </c:pt>
                <c:pt idx="45">
                  <c:v>108.11</c:v>
                </c:pt>
                <c:pt idx="46">
                  <c:v>107.5</c:v>
                </c:pt>
                <c:pt idx="47">
                  <c:v>108.88</c:v>
                </c:pt>
                <c:pt idx="48">
                  <c:v>108.46</c:v>
                </c:pt>
                <c:pt idx="49">
                  <c:v>107.99</c:v>
                </c:pt>
                <c:pt idx="50">
                  <c:v>108.98</c:v>
                </c:pt>
                <c:pt idx="51">
                  <c:v>107.83</c:v>
                </c:pt>
                <c:pt idx="52">
                  <c:v>106.91</c:v>
                </c:pt>
                <c:pt idx="53">
                  <c:v>107.12</c:v>
                </c:pt>
                <c:pt idx="54">
                  <c:v>108.09</c:v>
                </c:pt>
                <c:pt idx="55">
                  <c:v>105.97</c:v>
                </c:pt>
                <c:pt idx="56">
                  <c:v>106.52</c:v>
                </c:pt>
                <c:pt idx="57">
                  <c:v>108.08</c:v>
                </c:pt>
                <c:pt idx="58">
                  <c:v>107.78</c:v>
                </c:pt>
                <c:pt idx="59">
                  <c:v>106.89</c:v>
                </c:pt>
                <c:pt idx="60">
                  <c:v>104.69</c:v>
                </c:pt>
                <c:pt idx="61">
                  <c:v>105.55</c:v>
                </c:pt>
                <c:pt idx="62">
                  <c:v>105.89</c:v>
                </c:pt>
                <c:pt idx="63">
                  <c:v>105.19</c:v>
                </c:pt>
                <c:pt idx="64">
                  <c:v>103.15</c:v>
                </c:pt>
                <c:pt idx="65">
                  <c:v>102.53</c:v>
                </c:pt>
                <c:pt idx="66">
                  <c:v>104.82</c:v>
                </c:pt>
                <c:pt idx="67">
                  <c:v>106.65</c:v>
                </c:pt>
                <c:pt idx="68">
                  <c:v>106.65</c:v>
                </c:pt>
                <c:pt idx="69">
                  <c:v>106.25</c:v>
                </c:pt>
                <c:pt idx="70">
                  <c:v>107.34</c:v>
                </c:pt>
                <c:pt idx="71">
                  <c:v>107.79</c:v>
                </c:pt>
                <c:pt idx="72">
                  <c:v>108.44</c:v>
                </c:pt>
                <c:pt idx="73">
                  <c:v>108.01</c:v>
                </c:pt>
                <c:pt idx="74">
                  <c:v>108.37</c:v>
                </c:pt>
                <c:pt idx="75">
                  <c:v>108.7</c:v>
                </c:pt>
                <c:pt idx="76">
                  <c:v>108.08</c:v>
                </c:pt>
                <c:pt idx="77">
                  <c:v>108.41</c:v>
                </c:pt>
                <c:pt idx="78">
                  <c:v>107.39</c:v>
                </c:pt>
                <c:pt idx="79">
                  <c:v>108.24</c:v>
                </c:pt>
                <c:pt idx="80">
                  <c:v>109.12</c:v>
                </c:pt>
                <c:pt idx="81">
                  <c:v>109.17</c:v>
                </c:pt>
                <c:pt idx="82">
                  <c:v>109.09</c:v>
                </c:pt>
                <c:pt idx="83">
                  <c:v>108.88</c:v>
                </c:pt>
                <c:pt idx="84">
                  <c:v>108.06</c:v>
                </c:pt>
                <c:pt idx="85">
                  <c:v>108.16</c:v>
                </c:pt>
                <c:pt idx="86">
                  <c:v>108.62</c:v>
                </c:pt>
                <c:pt idx="87">
                  <c:v>107.66</c:v>
                </c:pt>
                <c:pt idx="88">
                  <c:v>107.23</c:v>
                </c:pt>
                <c:pt idx="89">
                  <c:v>108.61</c:v>
                </c:pt>
                <c:pt idx="90">
                  <c:v>108.78</c:v>
                </c:pt>
                <c:pt idx="91">
                  <c:v>108.07</c:v>
                </c:pt>
                <c:pt idx="92">
                  <c:v>108.31</c:v>
                </c:pt>
                <c:pt idx="93">
                  <c:v>107.63</c:v>
                </c:pt>
                <c:pt idx="94">
                  <c:v>105.91</c:v>
                </c:pt>
                <c:pt idx="95">
                  <c:v>106.7</c:v>
                </c:pt>
                <c:pt idx="96">
                  <c:v>109.1</c:v>
                </c:pt>
                <c:pt idx="97">
                  <c:v>109.68</c:v>
                </c:pt>
                <c:pt idx="98">
                  <c:v>109.97</c:v>
                </c:pt>
                <c:pt idx="99">
                  <c:v>109.44</c:v>
                </c:pt>
                <c:pt idx="100">
                  <c:v>110.63</c:v>
                </c:pt>
                <c:pt idx="101">
                  <c:v>110.02</c:v>
                </c:pt>
                <c:pt idx="102">
                  <c:v>109.97</c:v>
                </c:pt>
                <c:pt idx="103">
                  <c:v>111.68</c:v>
                </c:pt>
                <c:pt idx="104">
                  <c:v>111.97</c:v>
                </c:pt>
                <c:pt idx="105">
                  <c:v>111.09</c:v>
                </c:pt>
                <c:pt idx="106">
                  <c:v>111.33</c:v>
                </c:pt>
                <c:pt idx="107">
                  <c:v>112</c:v>
                </c:pt>
                <c:pt idx="108">
                  <c:v>111.32</c:v>
                </c:pt>
                <c:pt idx="109">
                  <c:v>111.51</c:v>
                </c:pt>
                <c:pt idx="110">
                  <c:v>113.22</c:v>
                </c:pt>
                <c:pt idx="111">
                  <c:v>112.88</c:v>
                </c:pt>
                <c:pt idx="112">
                  <c:v>112.11</c:v>
                </c:pt>
                <c:pt idx="113">
                  <c:v>112.66</c:v>
                </c:pt>
                <c:pt idx="114">
                  <c:v>113.46</c:v>
                </c:pt>
                <c:pt idx="115">
                  <c:v>113.74</c:v>
                </c:pt>
                <c:pt idx="116">
                  <c:v>113.71</c:v>
                </c:pt>
                <c:pt idx="117">
                  <c:v>113.53</c:v>
                </c:pt>
                <c:pt idx="118">
                  <c:v>113.77</c:v>
                </c:pt>
                <c:pt idx="119">
                  <c:v>113.56</c:v>
                </c:pt>
                <c:pt idx="120">
                  <c:v>113.39</c:v>
                </c:pt>
                <c:pt idx="121">
                  <c:v>114.39</c:v>
                </c:pt>
                <c:pt idx="122">
                  <c:v>114.26</c:v>
                </c:pt>
                <c:pt idx="123">
                  <c:v>114.69</c:v>
                </c:pt>
                <c:pt idx="124">
                  <c:v>112.78</c:v>
                </c:pt>
                <c:pt idx="125">
                  <c:v>112.09</c:v>
                </c:pt>
                <c:pt idx="126">
                  <c:v>111.13</c:v>
                </c:pt>
                <c:pt idx="127">
                  <c:v>110.57</c:v>
                </c:pt>
                <c:pt idx="128">
                  <c:v>111.48</c:v>
                </c:pt>
                <c:pt idx="129">
                  <c:v>112.25</c:v>
                </c:pt>
                <c:pt idx="130">
                  <c:v>111.76</c:v>
                </c:pt>
                <c:pt idx="131">
                  <c:v>110.86</c:v>
                </c:pt>
                <c:pt idx="132">
                  <c:v>110.95</c:v>
                </c:pt>
                <c:pt idx="133">
                  <c:v>110.41</c:v>
                </c:pt>
                <c:pt idx="134">
                  <c:v>110.24</c:v>
                </c:pt>
                <c:pt idx="135">
                  <c:v>110.72</c:v>
                </c:pt>
                <c:pt idx="136">
                  <c:v>110.7</c:v>
                </c:pt>
                <c:pt idx="137">
                  <c:v>109.75</c:v>
                </c:pt>
                <c:pt idx="138">
                  <c:v>108.66</c:v>
                </c:pt>
                <c:pt idx="139">
                  <c:v>107.31</c:v>
                </c:pt>
                <c:pt idx="140">
                  <c:v>105.29</c:v>
                </c:pt>
                <c:pt idx="141">
                  <c:v>103.59</c:v>
                </c:pt>
                <c:pt idx="142">
                  <c:v>105.63</c:v>
                </c:pt>
                <c:pt idx="143">
                  <c:v>105.62</c:v>
                </c:pt>
                <c:pt idx="144">
                  <c:v>108.09</c:v>
                </c:pt>
                <c:pt idx="145">
                  <c:v>108.04</c:v>
                </c:pt>
                <c:pt idx="146">
                  <c:v>108.55</c:v>
                </c:pt>
                <c:pt idx="147">
                  <c:v>109.58</c:v>
                </c:pt>
                <c:pt idx="148">
                  <c:v>109.66</c:v>
                </c:pt>
                <c:pt idx="149">
                  <c:v>109.92</c:v>
                </c:pt>
                <c:pt idx="150">
                  <c:v>109.95</c:v>
                </c:pt>
                <c:pt idx="151">
                  <c:v>110.93</c:v>
                </c:pt>
                <c:pt idx="152">
                  <c:v>110.26</c:v>
                </c:pt>
                <c:pt idx="153">
                  <c:v>111.74</c:v>
                </c:pt>
                <c:pt idx="154">
                  <c:v>111.75</c:v>
                </c:pt>
                <c:pt idx="155">
                  <c:v>111.73</c:v>
                </c:pt>
                <c:pt idx="156">
                  <c:v>112.35</c:v>
                </c:pt>
                <c:pt idx="157">
                  <c:v>112.19</c:v>
                </c:pt>
                <c:pt idx="158">
                  <c:v>113.09</c:v>
                </c:pt>
                <c:pt idx="159">
                  <c:v>113.11</c:v>
                </c:pt>
                <c:pt idx="160">
                  <c:v>111.79</c:v>
                </c:pt>
                <c:pt idx="161">
                  <c:v>112.72</c:v>
                </c:pt>
                <c:pt idx="162">
                  <c:v>111.71</c:v>
                </c:pt>
                <c:pt idx="163">
                  <c:v>111.63</c:v>
                </c:pt>
                <c:pt idx="164">
                  <c:v>109.31</c:v>
                </c:pt>
                <c:pt idx="165">
                  <c:v>109.58</c:v>
                </c:pt>
                <c:pt idx="166">
                  <c:v>111.44</c:v>
                </c:pt>
                <c:pt idx="167">
                  <c:v>111.43</c:v>
                </c:pt>
                <c:pt idx="168">
                  <c:v>112.02</c:v>
                </c:pt>
                <c:pt idx="169">
                  <c:v>112.66</c:v>
                </c:pt>
                <c:pt idx="170">
                  <c:v>113.96</c:v>
                </c:pt>
                <c:pt idx="171">
                  <c:v>114.27</c:v>
                </c:pt>
                <c:pt idx="172">
                  <c:v>114.42</c:v>
                </c:pt>
                <c:pt idx="173">
                  <c:v>114.23</c:v>
                </c:pt>
                <c:pt idx="174">
                  <c:v>113.03</c:v>
                </c:pt>
                <c:pt idx="175">
                  <c:v>112.46</c:v>
                </c:pt>
                <c:pt idx="176">
                  <c:v>113.42</c:v>
                </c:pt>
                <c:pt idx="177">
                  <c:v>112.14</c:v>
                </c:pt>
                <c:pt idx="178">
                  <c:v>113.08</c:v>
                </c:pt>
                <c:pt idx="179">
                  <c:v>113.64</c:v>
                </c:pt>
                <c:pt idx="180">
                  <c:v>112.87</c:v>
                </c:pt>
                <c:pt idx="181">
                  <c:v>112.28</c:v>
                </c:pt>
                <c:pt idx="182">
                  <c:v>111.79</c:v>
                </c:pt>
                <c:pt idx="183">
                  <c:v>110.7</c:v>
                </c:pt>
                <c:pt idx="184">
                  <c:v>111.17</c:v>
                </c:pt>
                <c:pt idx="185">
                  <c:v>112.02</c:v>
                </c:pt>
                <c:pt idx="186">
                  <c:v>111.27</c:v>
                </c:pt>
                <c:pt idx="187">
                  <c:v>109.47</c:v>
                </c:pt>
                <c:pt idx="188">
                  <c:v>109.55</c:v>
                </c:pt>
                <c:pt idx="189">
                  <c:v>110.17</c:v>
                </c:pt>
                <c:pt idx="190">
                  <c:v>109.72</c:v>
                </c:pt>
                <c:pt idx="191">
                  <c:v>110.36</c:v>
                </c:pt>
                <c:pt idx="192">
                  <c:v>110.02</c:v>
                </c:pt>
                <c:pt idx="193">
                  <c:v>111.61</c:v>
                </c:pt>
                <c:pt idx="194">
                  <c:v>110.65</c:v>
                </c:pt>
                <c:pt idx="195">
                  <c:v>109.3</c:v>
                </c:pt>
                <c:pt idx="196">
                  <c:v>109.13</c:v>
                </c:pt>
                <c:pt idx="197">
                  <c:v>108.11</c:v>
                </c:pt>
                <c:pt idx="198">
                  <c:v>108.65</c:v>
                </c:pt>
                <c:pt idx="199">
                  <c:v>107.67</c:v>
                </c:pt>
                <c:pt idx="200">
                  <c:v>108.66</c:v>
                </c:pt>
                <c:pt idx="201">
                  <c:v>107.01</c:v>
                </c:pt>
                <c:pt idx="202">
                  <c:v>107.26</c:v>
                </c:pt>
                <c:pt idx="203">
                  <c:v>108.52</c:v>
                </c:pt>
                <c:pt idx="204">
                  <c:v>106.82</c:v>
                </c:pt>
                <c:pt idx="205">
                  <c:v>106.23</c:v>
                </c:pt>
                <c:pt idx="206">
                  <c:v>107.55</c:v>
                </c:pt>
                <c:pt idx="207">
                  <c:v>106.55</c:v>
                </c:pt>
                <c:pt idx="208">
                  <c:v>108.48</c:v>
                </c:pt>
                <c:pt idx="209">
                  <c:v>108.25</c:v>
                </c:pt>
                <c:pt idx="210">
                  <c:v>106.23</c:v>
                </c:pt>
                <c:pt idx="211">
                  <c:v>105.47</c:v>
                </c:pt>
                <c:pt idx="212">
                  <c:v>105.59</c:v>
                </c:pt>
                <c:pt idx="213">
                  <c:v>106.13</c:v>
                </c:pt>
                <c:pt idx="214">
                  <c:v>108.05</c:v>
                </c:pt>
                <c:pt idx="215">
                  <c:v>110.02</c:v>
                </c:pt>
                <c:pt idx="216">
                  <c:v>111.17</c:v>
                </c:pt>
                <c:pt idx="217">
                  <c:v>110.94</c:v>
                </c:pt>
                <c:pt idx="218">
                  <c:v>110.16</c:v>
                </c:pt>
                <c:pt idx="219">
                  <c:v>109</c:v>
                </c:pt>
                <c:pt idx="220">
                  <c:v>109.71</c:v>
                </c:pt>
                <c:pt idx="221">
                  <c:v>107.64</c:v>
                </c:pt>
                <c:pt idx="222">
                  <c:v>104.75</c:v>
                </c:pt>
                <c:pt idx="223">
                  <c:v>103.86</c:v>
                </c:pt>
                <c:pt idx="224">
                  <c:v>104.64</c:v>
                </c:pt>
                <c:pt idx="225">
                  <c:v>103.94</c:v>
                </c:pt>
                <c:pt idx="226">
                  <c:v>103.02</c:v>
                </c:pt>
                <c:pt idx="227">
                  <c:v>101.17</c:v>
                </c:pt>
                <c:pt idx="228">
                  <c:v>102.59</c:v>
                </c:pt>
                <c:pt idx="229">
                  <c:v>104.79</c:v>
                </c:pt>
                <c:pt idx="230">
                  <c:v>107.12</c:v>
                </c:pt>
                <c:pt idx="231">
                  <c:v>107.95</c:v>
                </c:pt>
                <c:pt idx="232">
                  <c:v>106.91</c:v>
                </c:pt>
                <c:pt idx="233">
                  <c:v>106.77</c:v>
                </c:pt>
                <c:pt idx="234">
                  <c:v>105.02</c:v>
                </c:pt>
                <c:pt idx="235">
                  <c:v>104.81</c:v>
                </c:pt>
                <c:pt idx="236">
                  <c:v>104.42</c:v>
                </c:pt>
                <c:pt idx="237">
                  <c:v>101.39</c:v>
                </c:pt>
                <c:pt idx="238">
                  <c:v>99.75</c:v>
                </c:pt>
                <c:pt idx="239">
                  <c:v>97.98</c:v>
                </c:pt>
                <c:pt idx="240">
                  <c:v>95.14</c:v>
                </c:pt>
                <c:pt idx="241">
                  <c:v>93.85</c:v>
                </c:pt>
                <c:pt idx="242">
                  <c:v>90.97</c:v>
                </c:pt>
                <c:pt idx="243">
                  <c:v>91.13</c:v>
                </c:pt>
                <c:pt idx="244">
                  <c:v>86.95</c:v>
                </c:pt>
                <c:pt idx="245">
                  <c:v>89.17</c:v>
                </c:pt>
                <c:pt idx="246">
                  <c:v>92.5</c:v>
                </c:pt>
                <c:pt idx="247">
                  <c:v>93.68</c:v>
                </c:pt>
                <c:pt idx="248">
                  <c:v>92.54</c:v>
                </c:pt>
                <c:pt idx="249">
                  <c:v>92.96</c:v>
                </c:pt>
                <c:pt idx="250">
                  <c:v>88.63</c:v>
                </c:pt>
                <c:pt idx="251">
                  <c:v>87.01</c:v>
                </c:pt>
                <c:pt idx="252">
                  <c:v>88.16</c:v>
                </c:pt>
                <c:pt idx="253">
                  <c:v>89</c:v>
                </c:pt>
                <c:pt idx="254">
                  <c:v>90.51</c:v>
                </c:pt>
                <c:pt idx="255">
                  <c:v>89.71</c:v>
                </c:pt>
                <c:pt idx="256">
                  <c:v>88.67</c:v>
                </c:pt>
                <c:pt idx="257">
                  <c:v>90.85</c:v>
                </c:pt>
                <c:pt idx="258">
                  <c:v>90.79</c:v>
                </c:pt>
                <c:pt idx="259">
                  <c:v>92.99</c:v>
                </c:pt>
                <c:pt idx="260">
                  <c:v>93.26</c:v>
                </c:pt>
                <c:pt idx="261">
                  <c:v>90.79</c:v>
                </c:pt>
                <c:pt idx="262">
                  <c:v>87.22</c:v>
                </c:pt>
                <c:pt idx="263">
                  <c:v>86.3</c:v>
                </c:pt>
                <c:pt idx="264">
                  <c:v>88.58</c:v>
                </c:pt>
                <c:pt idx="265">
                  <c:v>89.19</c:v>
                </c:pt>
                <c:pt idx="266">
                  <c:v>86</c:v>
                </c:pt>
                <c:pt idx="267">
                  <c:v>82.95</c:v>
                </c:pt>
                <c:pt idx="268">
                  <c:v>84.1</c:v>
                </c:pt>
                <c:pt idx="269">
                  <c:v>86.09</c:v>
                </c:pt>
                <c:pt idx="270">
                  <c:v>88.65</c:v>
                </c:pt>
                <c:pt idx="271">
                  <c:v>89.06</c:v>
                </c:pt>
                <c:pt idx="272">
                  <c:v>87.08</c:v>
                </c:pt>
                <c:pt idx="273">
                  <c:v>88.61</c:v>
                </c:pt>
                <c:pt idx="274">
                  <c:v>87.32</c:v>
                </c:pt>
                <c:pt idx="275">
                  <c:v>83.63</c:v>
                </c:pt>
                <c:pt idx="276">
                  <c:v>83.82</c:v>
                </c:pt>
                <c:pt idx="277">
                  <c:v>85.79</c:v>
                </c:pt>
                <c:pt idx="278">
                  <c:v>89.8</c:v>
                </c:pt>
                <c:pt idx="279">
                  <c:v>89.45</c:v>
                </c:pt>
                <c:pt idx="280">
                  <c:v>90.79</c:v>
                </c:pt>
                <c:pt idx="281">
                  <c:v>89.89</c:v>
                </c:pt>
                <c:pt idx="282">
                  <c:v>88.32</c:v>
                </c:pt>
                <c:pt idx="283">
                  <c:v>86.7</c:v>
                </c:pt>
                <c:pt idx="284">
                  <c:v>90.05</c:v>
                </c:pt>
                <c:pt idx="285">
                  <c:v>92.88</c:v>
                </c:pt>
                <c:pt idx="286">
                  <c:v>93.43</c:v>
                </c:pt>
                <c:pt idx="287">
                  <c:v>95.11</c:v>
                </c:pt>
                <c:pt idx="288">
                  <c:v>94.64</c:v>
                </c:pt>
                <c:pt idx="289">
                  <c:v>96.52</c:v>
                </c:pt>
                <c:pt idx="290">
                  <c:v>95.32</c:v>
                </c:pt>
                <c:pt idx="291">
                  <c:v>96.3</c:v>
                </c:pt>
                <c:pt idx="292">
                  <c:v>94.84</c:v>
                </c:pt>
                <c:pt idx="293">
                  <c:v>94.4</c:v>
                </c:pt>
                <c:pt idx="294">
                  <c:v>95.12</c:v>
                </c:pt>
                <c:pt idx="295">
                  <c:v>92.7</c:v>
                </c:pt>
                <c:pt idx="296">
                  <c:v>94.97</c:v>
                </c:pt>
                <c:pt idx="297">
                  <c:v>95.95</c:v>
                </c:pt>
                <c:pt idx="298">
                  <c:v>94.9</c:v>
                </c:pt>
                <c:pt idx="299">
                  <c:v>94.82</c:v>
                </c:pt>
                <c:pt idx="300">
                  <c:v>99.18</c:v>
                </c:pt>
                <c:pt idx="301">
                  <c:v>98.09</c:v>
                </c:pt>
                <c:pt idx="302">
                  <c:v>95.52</c:v>
                </c:pt>
                <c:pt idx="303">
                  <c:v>91.08</c:v>
                </c:pt>
                <c:pt idx="304">
                  <c:v>92.01</c:v>
                </c:pt>
                <c:pt idx="305">
                  <c:v>94.45</c:v>
                </c:pt>
                <c:pt idx="306">
                  <c:v>92.84</c:v>
                </c:pt>
                <c:pt idx="307">
                  <c:v>92.68</c:v>
                </c:pt>
                <c:pt idx="308">
                  <c:v>93.24</c:v>
                </c:pt>
                <c:pt idx="309">
                  <c:v>90.97</c:v>
                </c:pt>
                <c:pt idx="310">
                  <c:v>91.44</c:v>
                </c:pt>
                <c:pt idx="311">
                  <c:v>94.26</c:v>
                </c:pt>
                <c:pt idx="312">
                  <c:v>92.97</c:v>
                </c:pt>
                <c:pt idx="313">
                  <c:v>91.62</c:v>
                </c:pt>
                <c:pt idx="314">
                  <c:v>91.98</c:v>
                </c:pt>
                <c:pt idx="315">
                  <c:v>90.8</c:v>
                </c:pt>
                <c:pt idx="316">
                  <c:v>90.81</c:v>
                </c:pt>
                <c:pt idx="317">
                  <c:v>87.84</c:v>
                </c:pt>
                <c:pt idx="318">
                  <c:v>87.16</c:v>
                </c:pt>
                <c:pt idx="319">
                  <c:v>85.75</c:v>
                </c:pt>
                <c:pt idx="320">
                  <c:v>85.43</c:v>
                </c:pt>
                <c:pt idx="321">
                  <c:v>86.19</c:v>
                </c:pt>
                <c:pt idx="322">
                  <c:v>90.34</c:v>
                </c:pt>
                <c:pt idx="323">
                  <c:v>91.21</c:v>
                </c:pt>
                <c:pt idx="324">
                  <c:v>95.02</c:v>
                </c:pt>
                <c:pt idx="325">
                  <c:v>94.29</c:v>
                </c:pt>
                <c:pt idx="326">
                  <c:v>95.16</c:v>
                </c:pt>
                <c:pt idx="327">
                  <c:v>96.36</c:v>
                </c:pt>
                <c:pt idx="328">
                  <c:v>95.74</c:v>
                </c:pt>
                <c:pt idx="329">
                  <c:v>95.41</c:v>
                </c:pt>
                <c:pt idx="330">
                  <c:v>93.83</c:v>
                </c:pt>
                <c:pt idx="331">
                  <c:v>95.62</c:v>
                </c:pt>
                <c:pt idx="332">
                  <c:v>93.07</c:v>
                </c:pt>
                <c:pt idx="333">
                  <c:v>92.46</c:v>
                </c:pt>
                <c:pt idx="334">
                  <c:v>90.63</c:v>
                </c:pt>
                <c:pt idx="335">
                  <c:v>91.53</c:v>
                </c:pt>
                <c:pt idx="336">
                  <c:v>91.46</c:v>
                </c:pt>
                <c:pt idx="337">
                  <c:v>91.57</c:v>
                </c:pt>
                <c:pt idx="338">
                  <c:v>93.39</c:v>
                </c:pt>
                <c:pt idx="339">
                  <c:v>92.64</c:v>
                </c:pt>
                <c:pt idx="340">
                  <c:v>93.72</c:v>
                </c:pt>
                <c:pt idx="341">
                  <c:v>94.46</c:v>
                </c:pt>
                <c:pt idx="342">
                  <c:v>94.5</c:v>
                </c:pt>
                <c:pt idx="343">
                  <c:v>93.31</c:v>
                </c:pt>
                <c:pt idx="344">
                  <c:v>94.24</c:v>
                </c:pt>
                <c:pt idx="345">
                  <c:v>95.3</c:v>
                </c:pt>
                <c:pt idx="346">
                  <c:v>97.14</c:v>
                </c:pt>
                <c:pt idx="347">
                  <c:v>97.84</c:v>
                </c:pt>
                <c:pt idx="348">
                  <c:v>96.19</c:v>
                </c:pt>
                <c:pt idx="349">
                  <c:v>94.42</c:v>
                </c:pt>
                <c:pt idx="350">
                  <c:v>93.92</c:v>
                </c:pt>
                <c:pt idx="351">
                  <c:v>93.47</c:v>
                </c:pt>
                <c:pt idx="352">
                  <c:v>95.5</c:v>
                </c:pt>
                <c:pt idx="353">
                  <c:v>95.08</c:v>
                </c:pt>
                <c:pt idx="354">
                  <c:v>95.13</c:v>
                </c:pt>
                <c:pt idx="355">
                  <c:v>94.79</c:v>
                </c:pt>
                <c:pt idx="356">
                  <c:v>95.37</c:v>
                </c:pt>
                <c:pt idx="357">
                  <c:v>96.36</c:v>
                </c:pt>
                <c:pt idx="358">
                  <c:v>95.87</c:v>
                </c:pt>
                <c:pt idx="359">
                  <c:v>97.27</c:v>
                </c:pt>
                <c:pt idx="360">
                  <c:v>97.03</c:v>
                </c:pt>
                <c:pt idx="361">
                  <c:v>97.3</c:v>
                </c:pt>
                <c:pt idx="362">
                  <c:v>96.44</c:v>
                </c:pt>
                <c:pt idx="363">
                  <c:v>96.46</c:v>
                </c:pt>
                <c:pt idx="364">
                  <c:v>98.06</c:v>
                </c:pt>
                <c:pt idx="365">
                  <c:v>97.44</c:v>
                </c:pt>
                <c:pt idx="366">
                  <c:v>96.42</c:v>
                </c:pt>
                <c:pt idx="367">
                  <c:v>96.95</c:v>
                </c:pt>
                <c:pt idx="368">
                  <c:v>98.96</c:v>
                </c:pt>
                <c:pt idx="369">
                  <c:v>98.59</c:v>
                </c:pt>
                <c:pt idx="370">
                  <c:v>99.46</c:v>
                </c:pt>
                <c:pt idx="371">
                  <c:v>99.49</c:v>
                </c:pt>
                <c:pt idx="372">
                  <c:v>99.64</c:v>
                </c:pt>
                <c:pt idx="373">
                  <c:v>99.38</c:v>
                </c:pt>
                <c:pt idx="374">
                  <c:v>99.29</c:v>
                </c:pt>
                <c:pt idx="375">
                  <c:v>98.02</c:v>
                </c:pt>
                <c:pt idx="376">
                  <c:v>98.63</c:v>
                </c:pt>
                <c:pt idx="377">
                  <c:v>98.59</c:v>
                </c:pt>
                <c:pt idx="378">
                  <c:v>98.91</c:v>
                </c:pt>
                <c:pt idx="379">
                  <c:v>98.38</c:v>
                </c:pt>
                <c:pt idx="380">
                  <c:v>99.59</c:v>
                </c:pt>
                <c:pt idx="381">
                  <c:v>100.68</c:v>
                </c:pt>
                <c:pt idx="382">
                  <c:v>100.1</c:v>
                </c:pt>
                <c:pt idx="383">
                  <c:v>99.2</c:v>
                </c:pt>
                <c:pt idx="384">
                  <c:v>98.58</c:v>
                </c:pt>
                <c:pt idx="385">
                  <c:v>99.32</c:v>
                </c:pt>
                <c:pt idx="386">
                  <c:v>99.25</c:v>
                </c:pt>
                <c:pt idx="387">
                  <c:v>98.93</c:v>
                </c:pt>
                <c:pt idx="388">
                  <c:v>98.95</c:v>
                </c:pt>
                <c:pt idx="389">
                  <c:v>99.44</c:v>
                </c:pt>
                <c:pt idx="390">
                  <c:v>99.05</c:v>
                </c:pt>
                <c:pt idx="391">
                  <c:v>98.26</c:v>
                </c:pt>
                <c:pt idx="392">
                  <c:v>95.53</c:v>
                </c:pt>
                <c:pt idx="393">
                  <c:v>96.28</c:v>
                </c:pt>
                <c:pt idx="394">
                  <c:v>97.92</c:v>
                </c:pt>
                <c:pt idx="395">
                  <c:v>98.42</c:v>
                </c:pt>
                <c:pt idx="396">
                  <c:v>98.81</c:v>
                </c:pt>
                <c:pt idx="397">
                  <c:v>100.6</c:v>
                </c:pt>
                <c:pt idx="398">
                  <c:v>101.28</c:v>
                </c:pt>
                <c:pt idx="399">
                  <c:v>101.42</c:v>
                </c:pt>
                <c:pt idx="400">
                  <c:v>101.72</c:v>
                </c:pt>
                <c:pt idx="401">
                  <c:v>102.16</c:v>
                </c:pt>
                <c:pt idx="402">
                  <c:v>101.95</c:v>
                </c:pt>
                <c:pt idx="403">
                  <c:v>101.38</c:v>
                </c:pt>
                <c:pt idx="404">
                  <c:v>100.34</c:v>
                </c:pt>
                <c:pt idx="405">
                  <c:v>100.35</c:v>
                </c:pt>
                <c:pt idx="406">
                  <c:v>100.91</c:v>
                </c:pt>
                <c:pt idx="407">
                  <c:v>100.35</c:v>
                </c:pt>
                <c:pt idx="408">
                  <c:v>99.29</c:v>
                </c:pt>
                <c:pt idx="409">
                  <c:v>97.72</c:v>
                </c:pt>
                <c:pt idx="410">
                  <c:v>98.48</c:v>
                </c:pt>
                <c:pt idx="411">
                  <c:v>99.11</c:v>
                </c:pt>
                <c:pt idx="412">
                  <c:v>97.99</c:v>
                </c:pt>
                <c:pt idx="413">
                  <c:v>95.33</c:v>
                </c:pt>
                <c:pt idx="414">
                  <c:v>95.2</c:v>
                </c:pt>
                <c:pt idx="415">
                  <c:v>92.83</c:v>
                </c:pt>
                <c:pt idx="416">
                  <c:v>93.84</c:v>
                </c:pt>
                <c:pt idx="417">
                  <c:v>93.92</c:v>
                </c:pt>
                <c:pt idx="418">
                  <c:v>92</c:v>
                </c:pt>
                <c:pt idx="419">
                  <c:v>92.26</c:v>
                </c:pt>
                <c:pt idx="420">
                  <c:v>94.5</c:v>
                </c:pt>
                <c:pt idx="421">
                  <c:v>92.89</c:v>
                </c:pt>
                <c:pt idx="422">
                  <c:v>91.63</c:v>
                </c:pt>
                <c:pt idx="423">
                  <c:v>92.88</c:v>
                </c:pt>
                <c:pt idx="424">
                  <c:v>90.6</c:v>
                </c:pt>
                <c:pt idx="425">
                  <c:v>92.71</c:v>
                </c:pt>
                <c:pt idx="426">
                  <c:v>94.25</c:v>
                </c:pt>
                <c:pt idx="427">
                  <c:v>93.46</c:v>
                </c:pt>
                <c:pt idx="428">
                  <c:v>94.67</c:v>
                </c:pt>
                <c:pt idx="429">
                  <c:v>93.64</c:v>
                </c:pt>
                <c:pt idx="430">
                  <c:v>93.67</c:v>
                </c:pt>
                <c:pt idx="431">
                  <c:v>92.58</c:v>
                </c:pt>
                <c:pt idx="432">
                  <c:v>92.34</c:v>
                </c:pt>
                <c:pt idx="433">
                  <c:v>91.98</c:v>
                </c:pt>
                <c:pt idx="434">
                  <c:v>93.18</c:v>
                </c:pt>
                <c:pt idx="435">
                  <c:v>93.23</c:v>
                </c:pt>
                <c:pt idx="436">
                  <c:v>92.71</c:v>
                </c:pt>
                <c:pt idx="437">
                  <c:v>94.04</c:v>
                </c:pt>
                <c:pt idx="438">
                  <c:v>94.08</c:v>
                </c:pt>
                <c:pt idx="439">
                  <c:v>91.92</c:v>
                </c:pt>
                <c:pt idx="440">
                  <c:v>90.85</c:v>
                </c:pt>
                <c:pt idx="441">
                  <c:v>90.32</c:v>
                </c:pt>
                <c:pt idx="442">
                  <c:v>89.34</c:v>
                </c:pt>
                <c:pt idx="443">
                  <c:v>89.52</c:v>
                </c:pt>
                <c:pt idx="444">
                  <c:v>89.95</c:v>
                </c:pt>
                <c:pt idx="445">
                  <c:v>91.52</c:v>
                </c:pt>
                <c:pt idx="446">
                  <c:v>88.97</c:v>
                </c:pt>
                <c:pt idx="447">
                  <c:v>89.73</c:v>
                </c:pt>
                <c:pt idx="448">
                  <c:v>89.83</c:v>
                </c:pt>
                <c:pt idx="449">
                  <c:v>89.06</c:v>
                </c:pt>
                <c:pt idx="450">
                  <c:v>88.89</c:v>
                </c:pt>
                <c:pt idx="451">
                  <c:v>87.75</c:v>
                </c:pt>
                <c:pt idx="452">
                  <c:v>87.73</c:v>
                </c:pt>
                <c:pt idx="453">
                  <c:v>86.2</c:v>
                </c:pt>
                <c:pt idx="454">
                  <c:v>86.44</c:v>
                </c:pt>
                <c:pt idx="455">
                  <c:v>86.42</c:v>
                </c:pt>
                <c:pt idx="456">
                  <c:v>88.58</c:v>
                </c:pt>
                <c:pt idx="457">
                  <c:v>89.04</c:v>
                </c:pt>
                <c:pt idx="458">
                  <c:v>89.34</c:v>
                </c:pt>
                <c:pt idx="459">
                  <c:v>89.06</c:v>
                </c:pt>
                <c:pt idx="460">
                  <c:v>89.19</c:v>
                </c:pt>
                <c:pt idx="461">
                  <c:v>88.8</c:v>
                </c:pt>
                <c:pt idx="462">
                  <c:v>89.43</c:v>
                </c:pt>
                <c:pt idx="463">
                  <c:v>90.6</c:v>
                </c:pt>
                <c:pt idx="464">
                  <c:v>89.86</c:v>
                </c:pt>
                <c:pt idx="465">
                  <c:v>91.43</c:v>
                </c:pt>
                <c:pt idx="466">
                  <c:v>92.36</c:v>
                </c:pt>
                <c:pt idx="467">
                  <c:v>91.93</c:v>
                </c:pt>
                <c:pt idx="468">
                  <c:v>92.09</c:v>
                </c:pt>
                <c:pt idx="469">
                  <c:v>90</c:v>
                </c:pt>
                <c:pt idx="470">
                  <c:v>89.9</c:v>
                </c:pt>
                <c:pt idx="471">
                  <c:v>91.25</c:v>
                </c:pt>
                <c:pt idx="472">
                  <c:v>91.25</c:v>
                </c:pt>
                <c:pt idx="473">
                  <c:v>94.79</c:v>
                </c:pt>
                <c:pt idx="474">
                  <c:v>95.84</c:v>
                </c:pt>
                <c:pt idx="475">
                  <c:v>96.33</c:v>
                </c:pt>
                <c:pt idx="476">
                  <c:v>96.16</c:v>
                </c:pt>
                <c:pt idx="477">
                  <c:v>95.16</c:v>
                </c:pt>
                <c:pt idx="478">
                  <c:v>93.5</c:v>
                </c:pt>
                <c:pt idx="479">
                  <c:v>93.6</c:v>
                </c:pt>
                <c:pt idx="480">
                  <c:v>93.94</c:v>
                </c:pt>
                <c:pt idx="481">
                  <c:v>94.29</c:v>
                </c:pt>
                <c:pt idx="482">
                  <c:v>93.55</c:v>
                </c:pt>
                <c:pt idx="483">
                  <c:v>95.5</c:v>
                </c:pt>
                <c:pt idx="484">
                  <c:v>95.55</c:v>
                </c:pt>
                <c:pt idx="485">
                  <c:v>95.62</c:v>
                </c:pt>
                <c:pt idx="486">
                  <c:v>96.26</c:v>
                </c:pt>
                <c:pt idx="487">
                  <c:v>96.59</c:v>
                </c:pt>
                <c:pt idx="488">
                  <c:v>93.89</c:v>
                </c:pt>
                <c:pt idx="489">
                  <c:v>91.3</c:v>
                </c:pt>
                <c:pt idx="490">
                  <c:v>89.64</c:v>
                </c:pt>
                <c:pt idx="491">
                  <c:v>89.91</c:v>
                </c:pt>
                <c:pt idx="492">
                  <c:v>94.15</c:v>
                </c:pt>
                <c:pt idx="493">
                  <c:v>95.87</c:v>
                </c:pt>
                <c:pt idx="494">
                  <c:v>96.94</c:v>
                </c:pt>
                <c:pt idx="495">
                  <c:v>96.03</c:v>
                </c:pt>
                <c:pt idx="496">
                  <c:v>96.29</c:v>
                </c:pt>
                <c:pt idx="497">
                  <c:v>93.32</c:v>
                </c:pt>
                <c:pt idx="498">
                  <c:v>96.89</c:v>
                </c:pt>
                <c:pt idx="499">
                  <c:v>98.14</c:v>
                </c:pt>
                <c:pt idx="500">
                  <c:v>99.61</c:v>
                </c:pt>
                <c:pt idx="501">
                  <c:v>99.4</c:v>
                </c:pt>
                <c:pt idx="502">
                  <c:v>99.34</c:v>
                </c:pt>
                <c:pt idx="503">
                  <c:v>98.94</c:v>
                </c:pt>
                <c:pt idx="504">
                  <c:v>98.7</c:v>
                </c:pt>
                <c:pt idx="505">
                  <c:v>99.25</c:v>
                </c:pt>
                <c:pt idx="506">
                  <c:v>98.98</c:v>
                </c:pt>
                <c:pt idx="507">
                  <c:v>100.53</c:v>
                </c:pt>
                <c:pt idx="508">
                  <c:v>101.38</c:v>
                </c:pt>
                <c:pt idx="509">
                  <c:v>101.08</c:v>
                </c:pt>
                <c:pt idx="510">
                  <c:v>101.72</c:v>
                </c:pt>
                <c:pt idx="511">
                  <c:v>100.52</c:v>
                </c:pt>
                <c:pt idx="512">
                  <c:v>99.91</c:v>
                </c:pt>
                <c:pt idx="513">
                  <c:v>100.37</c:v>
                </c:pt>
                <c:pt idx="514">
                  <c:v>101.34</c:v>
                </c:pt>
                <c:pt idx="515">
                  <c:v>100.54</c:v>
                </c:pt>
                <c:pt idx="516">
                  <c:v>99.93</c:v>
                </c:pt>
                <c:pt idx="517">
                  <c:v>98.78</c:v>
                </c:pt>
                <c:pt idx="518">
                  <c:v>100.22</c:v>
                </c:pt>
                <c:pt idx="519">
                  <c:v>100.7</c:v>
                </c:pt>
                <c:pt idx="520">
                  <c:v>100.11</c:v>
                </c:pt>
                <c:pt idx="521">
                  <c:v>99.82</c:v>
                </c:pt>
                <c:pt idx="522">
                  <c:v>102.23</c:v>
                </c:pt>
                <c:pt idx="523">
                  <c:v>103.22</c:v>
                </c:pt>
                <c:pt idx="524">
                  <c:v>103.19</c:v>
                </c:pt>
                <c:pt idx="525">
                  <c:v>104.09</c:v>
                </c:pt>
                <c:pt idx="526">
                  <c:v>104.87</c:v>
                </c:pt>
                <c:pt idx="527">
                  <c:v>104.18</c:v>
                </c:pt>
                <c:pt idx="528">
                  <c:v>105.69</c:v>
                </c:pt>
                <c:pt idx="529">
                  <c:v>104.78</c:v>
                </c:pt>
                <c:pt idx="530">
                  <c:v>103.36</c:v>
                </c:pt>
                <c:pt idx="531">
                  <c:v>103.49</c:v>
                </c:pt>
                <c:pt idx="532">
                  <c:v>103.11</c:v>
                </c:pt>
                <c:pt idx="533">
                  <c:v>104.19</c:v>
                </c:pt>
                <c:pt idx="534">
                  <c:v>103.35</c:v>
                </c:pt>
                <c:pt idx="535">
                  <c:v>104</c:v>
                </c:pt>
                <c:pt idx="536">
                  <c:v>101.75</c:v>
                </c:pt>
                <c:pt idx="537">
                  <c:v>101.92</c:v>
                </c:pt>
                <c:pt idx="538">
                  <c:v>100.17</c:v>
                </c:pt>
                <c:pt idx="539">
                  <c:v>101.1</c:v>
                </c:pt>
                <c:pt idx="540">
                  <c:v>101.47</c:v>
                </c:pt>
                <c:pt idx="541">
                  <c:v>101.11</c:v>
                </c:pt>
                <c:pt idx="542">
                  <c:v>100.34</c:v>
                </c:pt>
                <c:pt idx="543">
                  <c:v>101.66</c:v>
                </c:pt>
                <c:pt idx="544">
                  <c:v>100.49</c:v>
                </c:pt>
                <c:pt idx="545">
                  <c:v>99.52</c:v>
                </c:pt>
                <c:pt idx="546">
                  <c:v>99.17</c:v>
                </c:pt>
                <c:pt idx="547">
                  <c:v>99.86</c:v>
                </c:pt>
                <c:pt idx="548">
                  <c:v>99.26</c:v>
                </c:pt>
                <c:pt idx="549">
                  <c:v>99.75</c:v>
                </c:pt>
                <c:pt idx="550">
                  <c:v>101.4</c:v>
                </c:pt>
                <c:pt idx="551">
                  <c:v>102.68</c:v>
                </c:pt>
                <c:pt idx="552">
                  <c:v>102.58</c:v>
                </c:pt>
                <c:pt idx="553">
                  <c:v>101.43</c:v>
                </c:pt>
                <c:pt idx="554">
                  <c:v>100.84</c:v>
                </c:pt>
                <c:pt idx="555">
                  <c:v>99.1</c:v>
                </c:pt>
                <c:pt idx="556">
                  <c:v>99.35</c:v>
                </c:pt>
                <c:pt idx="557">
                  <c:v>98.53</c:v>
                </c:pt>
                <c:pt idx="558">
                  <c:v>99.55</c:v>
                </c:pt>
                <c:pt idx="559">
                  <c:v>98.54</c:v>
                </c:pt>
                <c:pt idx="560">
                  <c:v>99.32</c:v>
                </c:pt>
                <c:pt idx="561">
                  <c:v>99.38</c:v>
                </c:pt>
                <c:pt idx="562">
                  <c:v>99.93</c:v>
                </c:pt>
                <c:pt idx="563">
                  <c:v>100.04</c:v>
                </c:pt>
                <c:pt idx="564">
                  <c:v>99.15</c:v>
                </c:pt>
                <c:pt idx="565">
                  <c:v>99.57</c:v>
                </c:pt>
                <c:pt idx="566">
                  <c:v>97.61</c:v>
                </c:pt>
                <c:pt idx="567">
                  <c:v>96.96</c:v>
                </c:pt>
                <c:pt idx="568">
                  <c:v>96.7</c:v>
                </c:pt>
                <c:pt idx="569">
                  <c:v>96.55</c:v>
                </c:pt>
                <c:pt idx="570">
                  <c:v>96.46</c:v>
                </c:pt>
                <c:pt idx="571">
                  <c:v>96.27</c:v>
                </c:pt>
                <c:pt idx="572">
                  <c:v>95.53</c:v>
                </c:pt>
                <c:pt idx="573">
                  <c:v>93.7</c:v>
                </c:pt>
                <c:pt idx="574">
                  <c:v>95.23</c:v>
                </c:pt>
                <c:pt idx="575">
                  <c:v>95.41</c:v>
                </c:pt>
                <c:pt idx="576">
                  <c:v>96.29</c:v>
                </c:pt>
                <c:pt idx="577">
                  <c:v>96.81</c:v>
                </c:pt>
                <c:pt idx="578">
                  <c:v>97.67</c:v>
                </c:pt>
                <c:pt idx="579">
                  <c:v>97.33</c:v>
                </c:pt>
                <c:pt idx="580">
                  <c:v>97.04</c:v>
                </c:pt>
                <c:pt idx="581">
                  <c:v>97.36</c:v>
                </c:pt>
                <c:pt idx="582">
                  <c:v>99.5</c:v>
                </c:pt>
                <c:pt idx="583">
                  <c:v>99.02</c:v>
                </c:pt>
                <c:pt idx="584">
                  <c:v>99.07</c:v>
                </c:pt>
                <c:pt idx="585">
                  <c:v>99.03</c:v>
                </c:pt>
                <c:pt idx="586">
                  <c:v>99.86</c:v>
                </c:pt>
                <c:pt idx="587">
                  <c:v>100.04</c:v>
                </c:pt>
                <c:pt idx="588">
                  <c:v>99.89</c:v>
                </c:pt>
                <c:pt idx="589">
                  <c:v>99.62</c:v>
                </c:pt>
                <c:pt idx="590">
                  <c:v>100.87</c:v>
                </c:pt>
                <c:pt idx="591">
                  <c:v>101.41</c:v>
                </c:pt>
                <c:pt idx="592">
                  <c:v>101.81</c:v>
                </c:pt>
                <c:pt idx="593">
                  <c:v>101.67</c:v>
                </c:pt>
                <c:pt idx="594">
                  <c:v>101.23</c:v>
                </c:pt>
                <c:pt idx="595">
                  <c:v>101.54</c:v>
                </c:pt>
                <c:pt idx="596">
                  <c:v>102.06</c:v>
                </c:pt>
                <c:pt idx="597">
                  <c:v>102.28</c:v>
                </c:pt>
                <c:pt idx="598">
                  <c:v>102.13</c:v>
                </c:pt>
                <c:pt idx="599">
                  <c:v>102.19</c:v>
                </c:pt>
                <c:pt idx="600">
                  <c:v>102.61</c:v>
                </c:pt>
                <c:pt idx="601">
                  <c:v>101.61</c:v>
                </c:pt>
                <c:pt idx="602">
                  <c:v>101.83</c:v>
                </c:pt>
                <c:pt idx="603">
                  <c:v>104.49</c:v>
                </c:pt>
                <c:pt idx="604">
                  <c:v>104.18</c:v>
                </c:pt>
                <c:pt idx="605">
                  <c:v>104.48</c:v>
                </c:pt>
                <c:pt idx="606">
                  <c:v>103.57</c:v>
                </c:pt>
                <c:pt idx="607">
                  <c:v>103.22</c:v>
                </c:pt>
                <c:pt idx="608">
                  <c:v>104.23</c:v>
                </c:pt>
                <c:pt idx="609">
                  <c:v>103.88</c:v>
                </c:pt>
                <c:pt idx="610">
                  <c:v>103.85</c:v>
                </c:pt>
                <c:pt idx="611">
                  <c:v>103.84</c:v>
                </c:pt>
                <c:pt idx="612">
                  <c:v>103.54</c:v>
                </c:pt>
                <c:pt idx="613">
                  <c:v>103.5</c:v>
                </c:pt>
                <c:pt idx="614">
                  <c:v>104.71</c:v>
                </c:pt>
                <c:pt idx="615">
                  <c:v>104.62</c:v>
                </c:pt>
                <c:pt idx="616">
                  <c:v>104.98</c:v>
                </c:pt>
                <c:pt idx="617">
                  <c:v>104.03</c:v>
                </c:pt>
                <c:pt idx="618">
                  <c:v>103.57</c:v>
                </c:pt>
                <c:pt idx="619">
                  <c:v>103.99</c:v>
                </c:pt>
                <c:pt idx="620">
                  <c:v>104.11</c:v>
                </c:pt>
                <c:pt idx="621">
                  <c:v>104.26</c:v>
                </c:pt>
                <c:pt idx="622">
                  <c:v>104.62</c:v>
                </c:pt>
                <c:pt idx="623">
                  <c:v>103.94</c:v>
                </c:pt>
                <c:pt idx="624">
                  <c:v>103.02</c:v>
                </c:pt>
                <c:pt idx="625">
                  <c:v>103.56</c:v>
                </c:pt>
                <c:pt idx="626">
                  <c:v>100.89</c:v>
                </c:pt>
                <c:pt idx="627">
                  <c:v>101.75</c:v>
                </c:pt>
                <c:pt idx="628">
                  <c:v>101.05</c:v>
                </c:pt>
                <c:pt idx="629">
                  <c:v>100.74</c:v>
                </c:pt>
                <c:pt idx="630">
                  <c:v>101.68</c:v>
                </c:pt>
                <c:pt idx="631">
                  <c:v>101.35</c:v>
                </c:pt>
                <c:pt idx="632">
                  <c:v>101.71</c:v>
                </c:pt>
                <c:pt idx="633">
                  <c:v>102.06</c:v>
                </c:pt>
                <c:pt idx="634">
                  <c:v>101.18</c:v>
                </c:pt>
                <c:pt idx="635">
                  <c:v>100.98</c:v>
                </c:pt>
                <c:pt idx="636">
                  <c:v>101.16</c:v>
                </c:pt>
                <c:pt idx="637">
                  <c:v>102.32</c:v>
                </c:pt>
                <c:pt idx="638">
                  <c:v>101.56</c:v>
                </c:pt>
                <c:pt idx="639">
                  <c:v>99.09</c:v>
                </c:pt>
                <c:pt idx="640">
                  <c:v>101</c:v>
                </c:pt>
                <c:pt idx="641">
                  <c:v>101.73</c:v>
                </c:pt>
                <c:pt idx="642">
                  <c:v>99.34</c:v>
                </c:pt>
                <c:pt idx="643">
                  <c:v>100.98</c:v>
                </c:pt>
                <c:pt idx="644">
                  <c:v>101.7</c:v>
                </c:pt>
                <c:pt idx="645">
                  <c:v>100.63</c:v>
                </c:pt>
                <c:pt idx="646">
                  <c:v>100.57</c:v>
                </c:pt>
                <c:pt idx="647">
                  <c:v>102.31</c:v>
                </c:pt>
                <c:pt idx="648">
                  <c:v>102.19</c:v>
                </c:pt>
                <c:pt idx="649">
                  <c:v>102.65</c:v>
                </c:pt>
                <c:pt idx="650">
                  <c:v>104.25</c:v>
                </c:pt>
                <c:pt idx="651">
                  <c:v>104.06</c:v>
                </c:pt>
                <c:pt idx="652">
                  <c:v>104.25</c:v>
                </c:pt>
                <c:pt idx="653">
                  <c:v>104.17</c:v>
                </c:pt>
                <c:pt idx="654">
                  <c:v>105.96</c:v>
                </c:pt>
                <c:pt idx="655">
                  <c:v>105.86</c:v>
                </c:pt>
                <c:pt idx="656">
                  <c:v>105.12</c:v>
                </c:pt>
                <c:pt idx="657">
                  <c:v>104.28</c:v>
                </c:pt>
                <c:pt idx="658">
                  <c:v>105.61</c:v>
                </c:pt>
                <c:pt idx="659">
                  <c:v>105.12</c:v>
                </c:pt>
                <c:pt idx="660">
                  <c:v>105.09</c:v>
                </c:pt>
                <c:pt idx="661">
                  <c:v>104.28</c:v>
                </c:pt>
                <c:pt idx="662">
                  <c:v>103.99</c:v>
                </c:pt>
                <c:pt idx="663">
                  <c:v>102.54</c:v>
                </c:pt>
                <c:pt idx="664">
                  <c:v>102.82</c:v>
                </c:pt>
                <c:pt idx="665">
                  <c:v>104.58</c:v>
                </c:pt>
                <c:pt idx="666">
                  <c:v>102.79</c:v>
                </c:pt>
                <c:pt idx="667">
                  <c:v>102.55</c:v>
                </c:pt>
                <c:pt idx="668">
                  <c:v>101.77</c:v>
                </c:pt>
                <c:pt idx="669">
                  <c:v>101.69</c:v>
                </c:pt>
                <c:pt idx="670">
                  <c:v>102.4</c:v>
                </c:pt>
                <c:pt idx="671">
                  <c:v>104.77</c:v>
                </c:pt>
                <c:pt idx="672">
                  <c:v>105.5</c:v>
                </c:pt>
                <c:pt idx="673">
                  <c:v>104.75</c:v>
                </c:pt>
                <c:pt idx="674">
                  <c:v>104</c:v>
                </c:pt>
                <c:pt idx="675">
                  <c:v>103.05</c:v>
                </c:pt>
                <c:pt idx="676">
                  <c:v>101.65</c:v>
                </c:pt>
                <c:pt idx="677">
                  <c:v>101.28</c:v>
                </c:pt>
                <c:pt idx="678">
                  <c:v>101.52</c:v>
                </c:pt>
                <c:pt idx="679">
                  <c:v>102.43</c:v>
                </c:pt>
                <c:pt idx="680">
                  <c:v>105</c:v>
                </c:pt>
                <c:pt idx="681">
                  <c:v>106.16</c:v>
                </c:pt>
                <c:pt idx="682">
                  <c:v>106.83</c:v>
                </c:pt>
                <c:pt idx="683">
                  <c:v>106.29</c:v>
                </c:pt>
                <c:pt idx="684">
                  <c:v>107.56</c:v>
                </c:pt>
                <c:pt idx="685">
                  <c:v>107.14</c:v>
                </c:pt>
                <c:pt idx="686">
                  <c:v>107.11</c:v>
                </c:pt>
                <c:pt idx="687">
                  <c:v>106.88</c:v>
                </c:pt>
                <c:pt idx="688">
                  <c:v>108.47</c:v>
                </c:pt>
                <c:pt idx="689">
                  <c:v>108.28</c:v>
                </c:pt>
                <c:pt idx="690">
                  <c:v>108.34</c:v>
                </c:pt>
                <c:pt idx="691">
                  <c:v>108.75</c:v>
                </c:pt>
                <c:pt idx="692">
                  <c:v>108.46</c:v>
                </c:pt>
                <c:pt idx="693">
                  <c:v>109.04</c:v>
                </c:pt>
                <c:pt idx="694">
                  <c:v>109.16</c:v>
                </c:pt>
                <c:pt idx="695">
                  <c:v>109.44</c:v>
                </c:pt>
                <c:pt idx="696">
                  <c:v>109.41</c:v>
                </c:pt>
                <c:pt idx="697">
                  <c:v>109.37</c:v>
                </c:pt>
                <c:pt idx="698">
                  <c:v>109.7</c:v>
                </c:pt>
                <c:pt idx="699">
                  <c:v>110.25</c:v>
                </c:pt>
                <c:pt idx="700">
                  <c:v>110.31</c:v>
                </c:pt>
                <c:pt idx="701">
                  <c:v>110.64</c:v>
                </c:pt>
                <c:pt idx="702">
                  <c:v>108.62</c:v>
                </c:pt>
                <c:pt idx="703">
                  <c:v>108.46</c:v>
                </c:pt>
                <c:pt idx="704">
                  <c:v>109.49</c:v>
                </c:pt>
                <c:pt idx="705">
                  <c:v>111.22</c:v>
                </c:pt>
                <c:pt idx="706">
                  <c:v>109.65</c:v>
                </c:pt>
                <c:pt idx="707">
                  <c:v>110.07</c:v>
                </c:pt>
                <c:pt idx="708">
                  <c:v>108.78</c:v>
                </c:pt>
                <c:pt idx="709">
                  <c:v>107.85</c:v>
                </c:pt>
                <c:pt idx="710">
                  <c:v>108.03</c:v>
                </c:pt>
                <c:pt idx="711">
                  <c:v>106.52</c:v>
                </c:pt>
                <c:pt idx="712">
                  <c:v>105.52</c:v>
                </c:pt>
                <c:pt idx="713">
                  <c:v>107.07</c:v>
                </c:pt>
                <c:pt idx="714">
                  <c:v>106.86</c:v>
                </c:pt>
                <c:pt idx="715">
                  <c:v>105.91</c:v>
                </c:pt>
                <c:pt idx="716">
                  <c:v>105.26</c:v>
                </c:pt>
                <c:pt idx="717">
                  <c:v>105.41</c:v>
                </c:pt>
                <c:pt idx="718">
                  <c:v>105.68</c:v>
                </c:pt>
                <c:pt idx="719">
                  <c:v>106.71</c:v>
                </c:pt>
                <c:pt idx="720">
                  <c:v>106.81</c:v>
                </c:pt>
                <c:pt idx="721">
                  <c:v>106.23</c:v>
                </c:pt>
                <c:pt idx="722">
                  <c:v>103.08</c:v>
                </c:pt>
                <c:pt idx="723">
                  <c:v>101.56</c:v>
                </c:pt>
                <c:pt idx="724">
                  <c:v>99.94</c:v>
                </c:pt>
                <c:pt idx="725">
                  <c:v>101.2</c:v>
                </c:pt>
                <c:pt idx="726">
                  <c:v>102.93</c:v>
                </c:pt>
                <c:pt idx="727">
                  <c:v>103.45</c:v>
                </c:pt>
                <c:pt idx="728">
                  <c:v>103.26</c:v>
                </c:pt>
                <c:pt idx="729">
                  <c:v>103.59</c:v>
                </c:pt>
                <c:pt idx="730">
                  <c:v>103.1</c:v>
                </c:pt>
                <c:pt idx="731">
                  <c:v>101.84</c:v>
                </c:pt>
                <c:pt idx="732">
                  <c:v>104.22</c:v>
                </c:pt>
                <c:pt idx="733">
                  <c:v>102.66</c:v>
                </c:pt>
                <c:pt idx="734">
                  <c:v>104.19</c:v>
                </c:pt>
                <c:pt idx="735">
                  <c:v>104.96</c:v>
                </c:pt>
                <c:pt idx="736">
                  <c:v>104.98</c:v>
                </c:pt>
                <c:pt idx="737">
                  <c:v>105.99</c:v>
                </c:pt>
                <c:pt idx="738">
                  <c:v>105.44</c:v>
                </c:pt>
                <c:pt idx="739">
                  <c:v>105.95</c:v>
                </c:pt>
                <c:pt idx="740">
                  <c:v>105.65</c:v>
                </c:pt>
                <c:pt idx="741">
                  <c:v>106.04</c:v>
                </c:pt>
                <c:pt idx="742">
                  <c:v>107.23</c:v>
                </c:pt>
                <c:pt idx="743">
                  <c:v>107.66</c:v>
                </c:pt>
                <c:pt idx="744">
                  <c:v>107.47</c:v>
                </c:pt>
                <c:pt idx="745">
                  <c:v>108.27</c:v>
                </c:pt>
                <c:pt idx="746">
                  <c:v>109.07</c:v>
                </c:pt>
                <c:pt idx="747">
                  <c:v>108.65</c:v>
                </c:pt>
                <c:pt idx="748">
                  <c:v>109.16</c:v>
                </c:pt>
                <c:pt idx="749">
                  <c:v>108.91</c:v>
                </c:pt>
                <c:pt idx="750">
                  <c:v>109.64</c:v>
                </c:pt>
                <c:pt idx="751">
                  <c:v>109.4</c:v>
                </c:pt>
                <c:pt idx="752">
                  <c:v>110.62</c:v>
                </c:pt>
                <c:pt idx="753">
                  <c:v>110.99</c:v>
                </c:pt>
                <c:pt idx="754">
                  <c:v>111.01</c:v>
                </c:pt>
                <c:pt idx="755">
                  <c:v>109.49</c:v>
                </c:pt>
                <c:pt idx="756">
                  <c:v>109.58</c:v>
                </c:pt>
                <c:pt idx="757">
                  <c:v>110.98</c:v>
                </c:pt>
                <c:pt idx="758">
                  <c:v>111.42</c:v>
                </c:pt>
                <c:pt idx="759">
                  <c:v>111.71</c:v>
                </c:pt>
                <c:pt idx="760">
                  <c:v>112.5</c:v>
                </c:pt>
                <c:pt idx="761">
                  <c:v>112.59</c:v>
                </c:pt>
                <c:pt idx="762">
                  <c:v>111.98</c:v>
                </c:pt>
                <c:pt idx="763">
                  <c:v>112.9</c:v>
                </c:pt>
                <c:pt idx="764">
                  <c:v>111.9</c:v>
                </c:pt>
                <c:pt idx="765">
                  <c:v>110.27</c:v>
                </c:pt>
                <c:pt idx="766">
                  <c:v>109.8</c:v>
                </c:pt>
                <c:pt idx="767">
                  <c:v>111.02</c:v>
                </c:pt>
                <c:pt idx="768">
                  <c:v>111.54</c:v>
                </c:pt>
                <c:pt idx="769">
                  <c:v>111.09</c:v>
                </c:pt>
                <c:pt idx="770">
                  <c:v>108.66</c:v>
                </c:pt>
                <c:pt idx="771">
                  <c:v>109.35</c:v>
                </c:pt>
                <c:pt idx="772">
                  <c:v>109.64</c:v>
                </c:pt>
                <c:pt idx="773">
                  <c:v>108.19</c:v>
                </c:pt>
                <c:pt idx="774">
                  <c:v>109.8</c:v>
                </c:pt>
                <c:pt idx="775">
                  <c:v>109.83</c:v>
                </c:pt>
                <c:pt idx="776">
                  <c:v>109.97</c:v>
                </c:pt>
                <c:pt idx="777">
                  <c:v>111.09</c:v>
                </c:pt>
                <c:pt idx="778">
                  <c:v>112.17</c:v>
                </c:pt>
                <c:pt idx="779">
                  <c:v>112.07</c:v>
                </c:pt>
                <c:pt idx="780">
                  <c:v>113.7</c:v>
                </c:pt>
                <c:pt idx="781">
                  <c:v>114.46</c:v>
                </c:pt>
                <c:pt idx="782">
                  <c:v>115.17</c:v>
                </c:pt>
                <c:pt idx="783">
                  <c:v>115.35</c:v>
                </c:pt>
                <c:pt idx="784">
                  <c:v>116.06</c:v>
                </c:pt>
                <c:pt idx="785">
                  <c:v>115.75</c:v>
                </c:pt>
                <c:pt idx="786">
                  <c:v>116.13</c:v>
                </c:pt>
                <c:pt idx="787">
                  <c:v>116.58</c:v>
                </c:pt>
                <c:pt idx="788">
                  <c:v>116.62</c:v>
                </c:pt>
                <c:pt idx="789">
                  <c:v>115.65</c:v>
                </c:pt>
                <c:pt idx="790">
                  <c:v>116.62</c:v>
                </c:pt>
                <c:pt idx="791">
                  <c:v>116.76</c:v>
                </c:pt>
                <c:pt idx="792">
                  <c:v>116.99</c:v>
                </c:pt>
                <c:pt idx="793">
                  <c:v>116.92</c:v>
                </c:pt>
                <c:pt idx="794">
                  <c:v>115.84</c:v>
                </c:pt>
                <c:pt idx="795">
                  <c:v>116.92</c:v>
                </c:pt>
                <c:pt idx="796">
                  <c:v>116.26</c:v>
                </c:pt>
                <c:pt idx="797">
                  <c:v>115.67</c:v>
                </c:pt>
                <c:pt idx="798">
                  <c:v>116.52</c:v>
                </c:pt>
                <c:pt idx="799">
                  <c:v>116.41</c:v>
                </c:pt>
                <c:pt idx="800">
                  <c:v>116.66</c:v>
                </c:pt>
                <c:pt idx="801">
                  <c:v>116.86</c:v>
                </c:pt>
                <c:pt idx="802">
                  <c:v>119.24</c:v>
                </c:pt>
                <c:pt idx="803">
                  <c:v>118.67</c:v>
                </c:pt>
                <c:pt idx="804">
                  <c:v>119.1</c:v>
                </c:pt>
                <c:pt idx="805">
                  <c:v>120.53</c:v>
                </c:pt>
                <c:pt idx="806">
                  <c:v>122.09</c:v>
                </c:pt>
                <c:pt idx="807">
                  <c:v>121.52</c:v>
                </c:pt>
                <c:pt idx="808">
                  <c:v>122.33</c:v>
                </c:pt>
                <c:pt idx="809">
                  <c:v>122.6</c:v>
                </c:pt>
                <c:pt idx="810">
                  <c:v>122.98</c:v>
                </c:pt>
                <c:pt idx="811">
                  <c:v>121.69</c:v>
                </c:pt>
                <c:pt idx="812">
                  <c:v>122.63</c:v>
                </c:pt>
                <c:pt idx="813">
                  <c:v>121.88</c:v>
                </c:pt>
                <c:pt idx="814">
                  <c:v>121.61</c:v>
                </c:pt>
                <c:pt idx="815">
                  <c:v>122.85</c:v>
                </c:pt>
                <c:pt idx="816">
                  <c:v>121.92</c:v>
                </c:pt>
                <c:pt idx="817">
                  <c:v>122.19</c:v>
                </c:pt>
                <c:pt idx="818">
                  <c:v>121.78</c:v>
                </c:pt>
                <c:pt idx="819">
                  <c:v>122.28</c:v>
                </c:pt>
                <c:pt idx="820">
                  <c:v>121.46</c:v>
                </c:pt>
                <c:pt idx="821">
                  <c:v>122.32</c:v>
                </c:pt>
                <c:pt idx="822">
                  <c:v>120.95</c:v>
                </c:pt>
                <c:pt idx="823">
                  <c:v>120.88</c:v>
                </c:pt>
                <c:pt idx="824">
                  <c:v>121.6</c:v>
                </c:pt>
                <c:pt idx="825">
                  <c:v>121.19</c:v>
                </c:pt>
                <c:pt idx="826">
                  <c:v>120.97</c:v>
                </c:pt>
                <c:pt idx="827">
                  <c:v>121.71</c:v>
                </c:pt>
                <c:pt idx="828">
                  <c:v>121.76</c:v>
                </c:pt>
                <c:pt idx="829">
                  <c:v>123.02</c:v>
                </c:pt>
                <c:pt idx="830">
                  <c:v>122.23</c:v>
                </c:pt>
                <c:pt idx="831">
                  <c:v>121.97</c:v>
                </c:pt>
                <c:pt idx="832">
                  <c:v>122.35</c:v>
                </c:pt>
                <c:pt idx="833">
                  <c:v>122.52</c:v>
                </c:pt>
                <c:pt idx="834">
                  <c:v>122.93</c:v>
                </c:pt>
                <c:pt idx="835">
                  <c:v>122.36</c:v>
                </c:pt>
                <c:pt idx="836">
                  <c:v>123.06</c:v>
                </c:pt>
                <c:pt idx="837">
                  <c:v>123.55</c:v>
                </c:pt>
                <c:pt idx="838">
                  <c:v>123.8</c:v>
                </c:pt>
                <c:pt idx="839">
                  <c:v>122.9</c:v>
                </c:pt>
                <c:pt idx="840">
                  <c:v>120.27</c:v>
                </c:pt>
                <c:pt idx="841">
                  <c:v>119.34</c:v>
                </c:pt>
                <c:pt idx="842">
                  <c:v>118.04</c:v>
                </c:pt>
                <c:pt idx="843">
                  <c:v>118.43</c:v>
                </c:pt>
                <c:pt idx="844">
                  <c:v>118.83</c:v>
                </c:pt>
                <c:pt idx="845">
                  <c:v>118.18</c:v>
                </c:pt>
                <c:pt idx="846">
                  <c:v>117.2</c:v>
                </c:pt>
                <c:pt idx="847">
                  <c:v>116.3</c:v>
                </c:pt>
                <c:pt idx="848">
                  <c:v>116.05</c:v>
                </c:pt>
                <c:pt idx="849">
                  <c:v>117.74</c:v>
                </c:pt>
                <c:pt idx="850">
                  <c:v>116.82</c:v>
                </c:pt>
                <c:pt idx="851">
                  <c:v>117.61</c:v>
                </c:pt>
                <c:pt idx="852">
                  <c:v>119.66</c:v>
                </c:pt>
                <c:pt idx="853">
                  <c:v>120.33</c:v>
                </c:pt>
                <c:pt idx="854">
                  <c:v>121.06</c:v>
                </c:pt>
                <c:pt idx="855">
                  <c:v>121.34</c:v>
                </c:pt>
                <c:pt idx="856">
                  <c:v>122.93</c:v>
                </c:pt>
                <c:pt idx="857">
                  <c:v>122.82</c:v>
                </c:pt>
                <c:pt idx="858">
                  <c:v>123.1</c:v>
                </c:pt>
                <c:pt idx="859">
                  <c:v>121.16</c:v>
                </c:pt>
                <c:pt idx="860">
                  <c:v>121.88</c:v>
                </c:pt>
                <c:pt idx="861">
                  <c:v>121.94</c:v>
                </c:pt>
                <c:pt idx="862">
                  <c:v>123.22</c:v>
                </c:pt>
                <c:pt idx="863">
                  <c:v>123.16</c:v>
                </c:pt>
                <c:pt idx="864">
                  <c:v>123.11</c:v>
                </c:pt>
                <c:pt idx="865">
                  <c:v>123.99</c:v>
                </c:pt>
                <c:pt idx="866">
                  <c:v>124.6</c:v>
                </c:pt>
                <c:pt idx="867">
                  <c:v>125.36</c:v>
                </c:pt>
                <c:pt idx="868">
                  <c:v>127.55</c:v>
                </c:pt>
                <c:pt idx="869">
                  <c:v>127.15</c:v>
                </c:pt>
                <c:pt idx="870">
                  <c:v>127.36</c:v>
                </c:pt>
                <c:pt idx="871">
                  <c:v>127.5</c:v>
                </c:pt>
                <c:pt idx="872">
                  <c:v>126.79</c:v>
                </c:pt>
                <c:pt idx="873">
                  <c:v>126.51</c:v>
                </c:pt>
                <c:pt idx="874">
                  <c:v>125.96</c:v>
                </c:pt>
                <c:pt idx="875">
                  <c:v>123.32</c:v>
                </c:pt>
                <c:pt idx="876">
                  <c:v>122.69</c:v>
                </c:pt>
                <c:pt idx="877">
                  <c:v>123.29</c:v>
                </c:pt>
                <c:pt idx="878">
                  <c:v>122.73</c:v>
                </c:pt>
                <c:pt idx="879">
                  <c:v>123.56</c:v>
                </c:pt>
                <c:pt idx="880">
                  <c:v>123.01</c:v>
                </c:pt>
                <c:pt idx="881">
                  <c:v>121.35</c:v>
                </c:pt>
                <c:pt idx="882">
                  <c:v>121.38</c:v>
                </c:pt>
                <c:pt idx="883">
                  <c:v>121.35</c:v>
                </c:pt>
                <c:pt idx="884">
                  <c:v>123.55</c:v>
                </c:pt>
                <c:pt idx="885">
                  <c:v>124.41</c:v>
                </c:pt>
                <c:pt idx="886">
                  <c:v>124.33</c:v>
                </c:pt>
                <c:pt idx="887">
                  <c:v>126.02</c:v>
                </c:pt>
                <c:pt idx="888">
                  <c:v>126.64</c:v>
                </c:pt>
                <c:pt idx="889">
                  <c:v>127.17</c:v>
                </c:pt>
                <c:pt idx="890">
                  <c:v>128.19</c:v>
                </c:pt>
                <c:pt idx="891">
                  <c:v>128.35</c:v>
                </c:pt>
                <c:pt idx="892">
                  <c:v>128.55000000000001</c:v>
                </c:pt>
                <c:pt idx="893">
                  <c:v>128.41999999999999</c:v>
                </c:pt>
                <c:pt idx="894">
                  <c:v>128.4</c:v>
                </c:pt>
                <c:pt idx="895">
                  <c:v>129.29</c:v>
                </c:pt>
                <c:pt idx="896">
                  <c:v>130.68</c:v>
                </c:pt>
                <c:pt idx="897">
                  <c:v>130.72999999999999</c:v>
                </c:pt>
                <c:pt idx="898">
                  <c:v>129.78</c:v>
                </c:pt>
                <c:pt idx="899">
                  <c:v>129.19</c:v>
                </c:pt>
                <c:pt idx="900">
                  <c:v>129.47999999999999</c:v>
                </c:pt>
                <c:pt idx="901">
                  <c:v>126.33</c:v>
                </c:pt>
                <c:pt idx="902">
                  <c:v>129.19999999999999</c:v>
                </c:pt>
                <c:pt idx="903">
                  <c:v>129.41999999999999</c:v>
                </c:pt>
                <c:pt idx="904">
                  <c:v>131.34</c:v>
                </c:pt>
                <c:pt idx="905">
                  <c:v>129.99</c:v>
                </c:pt>
                <c:pt idx="906">
                  <c:v>130.80000000000001</c:v>
                </c:pt>
                <c:pt idx="907">
                  <c:v>130.5</c:v>
                </c:pt>
                <c:pt idx="908">
                  <c:v>129.71</c:v>
                </c:pt>
                <c:pt idx="909">
                  <c:v>127.26</c:v>
                </c:pt>
                <c:pt idx="910">
                  <c:v>126.39</c:v>
                </c:pt>
                <c:pt idx="911">
                  <c:v>128.04</c:v>
                </c:pt>
                <c:pt idx="912">
                  <c:v>128.99</c:v>
                </c:pt>
                <c:pt idx="913">
                  <c:v>128.66</c:v>
                </c:pt>
                <c:pt idx="914">
                  <c:v>129.1</c:v>
                </c:pt>
                <c:pt idx="915">
                  <c:v>128.79</c:v>
                </c:pt>
                <c:pt idx="916">
                  <c:v>127.47</c:v>
                </c:pt>
                <c:pt idx="917">
                  <c:v>129.13999999999999</c:v>
                </c:pt>
                <c:pt idx="918">
                  <c:v>130.68</c:v>
                </c:pt>
                <c:pt idx="919">
                  <c:v>130.69</c:v>
                </c:pt>
                <c:pt idx="920">
                  <c:v>132.25</c:v>
                </c:pt>
                <c:pt idx="921">
                  <c:v>132.31</c:v>
                </c:pt>
                <c:pt idx="922">
                  <c:v>133.78</c:v>
                </c:pt>
                <c:pt idx="923">
                  <c:v>133.76</c:v>
                </c:pt>
                <c:pt idx="924">
                  <c:v>133.83000000000001</c:v>
                </c:pt>
                <c:pt idx="925">
                  <c:v>134.44999999999999</c:v>
                </c:pt>
                <c:pt idx="926">
                  <c:v>133.43</c:v>
                </c:pt>
                <c:pt idx="927">
                  <c:v>132.22999999999999</c:v>
                </c:pt>
                <c:pt idx="928">
                  <c:v>133.19999999999999</c:v>
                </c:pt>
                <c:pt idx="929">
                  <c:v>132.41</c:v>
                </c:pt>
                <c:pt idx="930">
                  <c:v>131.29</c:v>
                </c:pt>
                <c:pt idx="931">
                  <c:v>132.04</c:v>
                </c:pt>
                <c:pt idx="932">
                  <c:v>130.61000000000001</c:v>
                </c:pt>
                <c:pt idx="933">
                  <c:v>132.36000000000001</c:v>
                </c:pt>
                <c:pt idx="934">
                  <c:v>133.29</c:v>
                </c:pt>
                <c:pt idx="935">
                  <c:v>135.21</c:v>
                </c:pt>
                <c:pt idx="936">
                  <c:v>134.74</c:v>
                </c:pt>
                <c:pt idx="937">
                  <c:v>135.56</c:v>
                </c:pt>
                <c:pt idx="938">
                  <c:v>134.41</c:v>
                </c:pt>
                <c:pt idx="939">
                  <c:v>135.02000000000001</c:v>
                </c:pt>
                <c:pt idx="940">
                  <c:v>137.1</c:v>
                </c:pt>
                <c:pt idx="941">
                  <c:v>137.49</c:v>
                </c:pt>
                <c:pt idx="942">
                  <c:v>137.49</c:v>
                </c:pt>
                <c:pt idx="943">
                  <c:v>137.27000000000001</c:v>
                </c:pt>
                <c:pt idx="944">
                  <c:v>137.27000000000001</c:v>
                </c:pt>
                <c:pt idx="945">
                  <c:v>136.57</c:v>
                </c:pt>
                <c:pt idx="946">
                  <c:v>137.11000000000001</c:v>
                </c:pt>
                <c:pt idx="947">
                  <c:v>138.68</c:v>
                </c:pt>
                <c:pt idx="948">
                  <c:v>138.52000000000001</c:v>
                </c:pt>
                <c:pt idx="949">
                  <c:v>139.59</c:v>
                </c:pt>
                <c:pt idx="950">
                  <c:v>139.99</c:v>
                </c:pt>
                <c:pt idx="951">
                  <c:v>139.94999999999999</c:v>
                </c:pt>
                <c:pt idx="952">
                  <c:v>138.4</c:v>
                </c:pt>
                <c:pt idx="953">
                  <c:v>138.69999999999999</c:v>
                </c:pt>
                <c:pt idx="954">
                  <c:v>139.54</c:v>
                </c:pt>
                <c:pt idx="955">
                  <c:v>139.35</c:v>
                </c:pt>
                <c:pt idx="956">
                  <c:v>139.81</c:v>
                </c:pt>
                <c:pt idx="957">
                  <c:v>140.01</c:v>
                </c:pt>
                <c:pt idx="958">
                  <c:v>140.49</c:v>
                </c:pt>
                <c:pt idx="959">
                  <c:v>141.87</c:v>
                </c:pt>
                <c:pt idx="960">
                  <c:v>141.81</c:v>
                </c:pt>
                <c:pt idx="961">
                  <c:v>141.85</c:v>
                </c:pt>
                <c:pt idx="962">
                  <c:v>142.09</c:v>
                </c:pt>
                <c:pt idx="963">
                  <c:v>142.22</c:v>
                </c:pt>
                <c:pt idx="964">
                  <c:v>142.66999999999999</c:v>
                </c:pt>
                <c:pt idx="965">
                  <c:v>141.88999999999999</c:v>
                </c:pt>
                <c:pt idx="966">
                  <c:v>141.63999999999999</c:v>
                </c:pt>
                <c:pt idx="967">
                  <c:v>142.66999999999999</c:v>
                </c:pt>
                <c:pt idx="968">
                  <c:v>143.97</c:v>
                </c:pt>
                <c:pt idx="969">
                  <c:v>144.84</c:v>
                </c:pt>
                <c:pt idx="970">
                  <c:v>145.09</c:v>
                </c:pt>
                <c:pt idx="971">
                  <c:v>143.87</c:v>
                </c:pt>
                <c:pt idx="972">
                  <c:v>144.21</c:v>
                </c:pt>
                <c:pt idx="973">
                  <c:v>144.15</c:v>
                </c:pt>
                <c:pt idx="974">
                  <c:v>143.38999999999999</c:v>
                </c:pt>
                <c:pt idx="975">
                  <c:v>143.97</c:v>
                </c:pt>
                <c:pt idx="976">
                  <c:v>143.94999999999999</c:v>
                </c:pt>
                <c:pt idx="977">
                  <c:v>144.93</c:v>
                </c:pt>
                <c:pt idx="978">
                  <c:v>144.24</c:v>
                </c:pt>
                <c:pt idx="979">
                  <c:v>144.55000000000001</c:v>
                </c:pt>
                <c:pt idx="980">
                  <c:v>144.66999999999999</c:v>
                </c:pt>
                <c:pt idx="981">
                  <c:v>143.06</c:v>
                </c:pt>
                <c:pt idx="982">
                  <c:v>142.96</c:v>
                </c:pt>
                <c:pt idx="983">
                  <c:v>142.74</c:v>
                </c:pt>
                <c:pt idx="984">
                  <c:v>142.55000000000001</c:v>
                </c:pt>
                <c:pt idx="985">
                  <c:v>142.75</c:v>
                </c:pt>
                <c:pt idx="986">
                  <c:v>142.55000000000001</c:v>
                </c:pt>
                <c:pt idx="987">
                  <c:v>143.68</c:v>
                </c:pt>
                <c:pt idx="988">
                  <c:v>142.84</c:v>
                </c:pt>
                <c:pt idx="989">
                  <c:v>141.35</c:v>
                </c:pt>
                <c:pt idx="990">
                  <c:v>139.76</c:v>
                </c:pt>
                <c:pt idx="991">
                  <c:v>139.80000000000001</c:v>
                </c:pt>
                <c:pt idx="992">
                  <c:v>137.08000000000001</c:v>
                </c:pt>
                <c:pt idx="993">
                  <c:v>137.56</c:v>
                </c:pt>
                <c:pt idx="994">
                  <c:v>138.83000000000001</c:v>
                </c:pt>
                <c:pt idx="995">
                  <c:v>137.79</c:v>
                </c:pt>
                <c:pt idx="996">
                  <c:v>139.86000000000001</c:v>
                </c:pt>
                <c:pt idx="997">
                  <c:v>138.13999999999999</c:v>
                </c:pt>
                <c:pt idx="998">
                  <c:v>138.25</c:v>
                </c:pt>
                <c:pt idx="999">
                  <c:v>137.65</c:v>
                </c:pt>
                <c:pt idx="1000">
                  <c:v>139.72</c:v>
                </c:pt>
                <c:pt idx="1001">
                  <c:v>140.16999999999999</c:v>
                </c:pt>
                <c:pt idx="1002">
                  <c:v>140.94</c:v>
                </c:pt>
                <c:pt idx="1003">
                  <c:v>139.53</c:v>
                </c:pt>
                <c:pt idx="1004">
                  <c:v>139.59</c:v>
                </c:pt>
                <c:pt idx="1005">
                  <c:v>140.53</c:v>
                </c:pt>
                <c:pt idx="1006">
                  <c:v>139.09</c:v>
                </c:pt>
                <c:pt idx="1007">
                  <c:v>137.44999999999999</c:v>
                </c:pt>
                <c:pt idx="1008">
                  <c:v>136.07</c:v>
                </c:pt>
                <c:pt idx="1009">
                  <c:v>136.37</c:v>
                </c:pt>
                <c:pt idx="1010">
                  <c:v>135.97999999999999</c:v>
                </c:pt>
                <c:pt idx="1011">
                  <c:v>134.35</c:v>
                </c:pt>
                <c:pt idx="1012">
                  <c:v>132.36000000000001</c:v>
                </c:pt>
                <c:pt idx="1013">
                  <c:v>131.97999999999999</c:v>
                </c:pt>
                <c:pt idx="1014">
                  <c:v>134.03</c:v>
                </c:pt>
                <c:pt idx="1015">
                  <c:v>133.13999999999999</c:v>
                </c:pt>
                <c:pt idx="1016">
                  <c:v>134.63999999999999</c:v>
                </c:pt>
                <c:pt idx="1017">
                  <c:v>135.18</c:v>
                </c:pt>
                <c:pt idx="1018">
                  <c:v>134.84</c:v>
                </c:pt>
                <c:pt idx="1019">
                  <c:v>135.93</c:v>
                </c:pt>
                <c:pt idx="1020">
                  <c:v>136.56</c:v>
                </c:pt>
                <c:pt idx="1021">
                  <c:v>136.38999999999999</c:v>
                </c:pt>
                <c:pt idx="1022">
                  <c:v>137.81</c:v>
                </c:pt>
                <c:pt idx="1023">
                  <c:v>136.77000000000001</c:v>
                </c:pt>
                <c:pt idx="1024">
                  <c:v>138.75</c:v>
                </c:pt>
                <c:pt idx="1025">
                  <c:v>139.66</c:v>
                </c:pt>
                <c:pt idx="1026">
                  <c:v>139.97</c:v>
                </c:pt>
                <c:pt idx="1027">
                  <c:v>138.71</c:v>
                </c:pt>
                <c:pt idx="1028">
                  <c:v>139.11000000000001</c:v>
                </c:pt>
                <c:pt idx="1029">
                  <c:v>139.05000000000001</c:v>
                </c:pt>
                <c:pt idx="1030">
                  <c:v>139</c:v>
                </c:pt>
                <c:pt idx="1031">
                  <c:v>139.91999999999999</c:v>
                </c:pt>
                <c:pt idx="1032">
                  <c:v>141.13999999999999</c:v>
                </c:pt>
                <c:pt idx="1033">
                  <c:v>141.25</c:v>
                </c:pt>
                <c:pt idx="1034">
                  <c:v>140.78</c:v>
                </c:pt>
                <c:pt idx="1035">
                  <c:v>139.94999999999999</c:v>
                </c:pt>
                <c:pt idx="1036">
                  <c:v>139.57</c:v>
                </c:pt>
                <c:pt idx="1037">
                  <c:v>139.29</c:v>
                </c:pt>
                <c:pt idx="1038">
                  <c:v>138.91</c:v>
                </c:pt>
                <c:pt idx="1039">
                  <c:v>138.5</c:v>
                </c:pt>
                <c:pt idx="1040">
                  <c:v>137.93</c:v>
                </c:pt>
                <c:pt idx="1041">
                  <c:v>138.63999999999999</c:v>
                </c:pt>
                <c:pt idx="1042">
                  <c:v>139.41</c:v>
                </c:pt>
                <c:pt idx="1043">
                  <c:v>139.56</c:v>
                </c:pt>
                <c:pt idx="1044">
                  <c:v>139.37</c:v>
                </c:pt>
                <c:pt idx="1045">
                  <c:v>137.34</c:v>
                </c:pt>
                <c:pt idx="1046">
                  <c:v>138.56</c:v>
                </c:pt>
                <c:pt idx="1047">
                  <c:v>137.01</c:v>
                </c:pt>
                <c:pt idx="1048">
                  <c:v>137.74</c:v>
                </c:pt>
                <c:pt idx="1049">
                  <c:v>137.19</c:v>
                </c:pt>
                <c:pt idx="1050">
                  <c:v>138.6</c:v>
                </c:pt>
                <c:pt idx="1051">
                  <c:v>136.85</c:v>
                </c:pt>
                <c:pt idx="1052">
                  <c:v>133.38999999999999</c:v>
                </c:pt>
                <c:pt idx="1053">
                  <c:v>134.63999999999999</c:v>
                </c:pt>
                <c:pt idx="1054">
                  <c:v>134.71</c:v>
                </c:pt>
                <c:pt idx="1055">
                  <c:v>132.84</c:v>
                </c:pt>
                <c:pt idx="1056">
                  <c:v>132.38</c:v>
                </c:pt>
                <c:pt idx="1057">
                  <c:v>131.47999999999999</c:v>
                </c:pt>
                <c:pt idx="1058">
                  <c:v>129.46</c:v>
                </c:pt>
                <c:pt idx="1059">
                  <c:v>129.32</c:v>
                </c:pt>
                <c:pt idx="1060">
                  <c:v>129.37</c:v>
                </c:pt>
                <c:pt idx="1061">
                  <c:v>125.54</c:v>
                </c:pt>
                <c:pt idx="1062">
                  <c:v>124.68</c:v>
                </c:pt>
                <c:pt idx="1063">
                  <c:v>127.98</c:v>
                </c:pt>
                <c:pt idx="1064">
                  <c:v>127.22</c:v>
                </c:pt>
                <c:pt idx="1065">
                  <c:v>129.71</c:v>
                </c:pt>
                <c:pt idx="1066">
                  <c:v>130.87</c:v>
                </c:pt>
                <c:pt idx="1067">
                  <c:v>131.84</c:v>
                </c:pt>
                <c:pt idx="1068">
                  <c:v>131.78</c:v>
                </c:pt>
                <c:pt idx="1069">
                  <c:v>131.02000000000001</c:v>
                </c:pt>
                <c:pt idx="1070">
                  <c:v>133.66</c:v>
                </c:pt>
                <c:pt idx="1071">
                  <c:v>133.33000000000001</c:v>
                </c:pt>
                <c:pt idx="1072">
                  <c:v>133.26</c:v>
                </c:pt>
                <c:pt idx="1073">
                  <c:v>135.97</c:v>
                </c:pt>
                <c:pt idx="1074">
                  <c:v>134.01</c:v>
                </c:pt>
                <c:pt idx="1075">
                  <c:v>132.97</c:v>
                </c:pt>
                <c:pt idx="1076">
                  <c:v>134.93</c:v>
                </c:pt>
                <c:pt idx="1077">
                  <c:v>134.77000000000001</c:v>
                </c:pt>
                <c:pt idx="1078">
                  <c:v>133.74</c:v>
                </c:pt>
                <c:pt idx="1079">
                  <c:v>134.96</c:v>
                </c:pt>
                <c:pt idx="1080">
                  <c:v>135.94999999999999</c:v>
                </c:pt>
                <c:pt idx="1081">
                  <c:v>133.82</c:v>
                </c:pt>
                <c:pt idx="1082">
                  <c:v>134.18</c:v>
                </c:pt>
                <c:pt idx="1083">
                  <c:v>134.38</c:v>
                </c:pt>
                <c:pt idx="1084">
                  <c:v>135.11000000000001</c:v>
                </c:pt>
                <c:pt idx="1085">
                  <c:v>136.44999999999999</c:v>
                </c:pt>
                <c:pt idx="1086">
                  <c:v>136.54</c:v>
                </c:pt>
                <c:pt idx="1087">
                  <c:v>135.93</c:v>
                </c:pt>
                <c:pt idx="1088">
                  <c:v>139.27000000000001</c:v>
                </c:pt>
                <c:pt idx="1089">
                  <c:v>140.11000000000001</c:v>
                </c:pt>
                <c:pt idx="1090">
                  <c:v>140.81</c:v>
                </c:pt>
                <c:pt idx="1091">
                  <c:v>140.61000000000001</c:v>
                </c:pt>
                <c:pt idx="1092">
                  <c:v>141.57</c:v>
                </c:pt>
                <c:pt idx="1093">
                  <c:v>141.55000000000001</c:v>
                </c:pt>
                <c:pt idx="1094">
                  <c:v>141.22</c:v>
                </c:pt>
                <c:pt idx="1095">
                  <c:v>141.58000000000001</c:v>
                </c:pt>
                <c:pt idx="1096">
                  <c:v>142.46</c:v>
                </c:pt>
                <c:pt idx="1097">
                  <c:v>140.99</c:v>
                </c:pt>
                <c:pt idx="1098">
                  <c:v>143.74</c:v>
                </c:pt>
                <c:pt idx="1099">
                  <c:v>142.63</c:v>
                </c:pt>
                <c:pt idx="1100">
                  <c:v>139.4</c:v>
                </c:pt>
                <c:pt idx="1101">
                  <c:v>138.86000000000001</c:v>
                </c:pt>
                <c:pt idx="1102">
                  <c:v>139.28</c:v>
                </c:pt>
                <c:pt idx="1103">
                  <c:v>135.4</c:v>
                </c:pt>
                <c:pt idx="1104">
                  <c:v>132.15</c:v>
                </c:pt>
                <c:pt idx="1105">
                  <c:v>134.88</c:v>
                </c:pt>
                <c:pt idx="1106">
                  <c:v>134.80000000000001</c:v>
                </c:pt>
                <c:pt idx="1107">
                  <c:v>138.61000000000001</c:v>
                </c:pt>
                <c:pt idx="1108">
                  <c:v>138.94</c:v>
                </c:pt>
                <c:pt idx="1109">
                  <c:v>139.91</c:v>
                </c:pt>
                <c:pt idx="1110">
                  <c:v>141.37</c:v>
                </c:pt>
                <c:pt idx="1111">
                  <c:v>141.22</c:v>
                </c:pt>
                <c:pt idx="1112">
                  <c:v>140.81</c:v>
                </c:pt>
                <c:pt idx="1113">
                  <c:v>139.02000000000001</c:v>
                </c:pt>
                <c:pt idx="1114">
                  <c:v>139.24</c:v>
                </c:pt>
                <c:pt idx="1115">
                  <c:v>139.08000000000001</c:v>
                </c:pt>
                <c:pt idx="1116">
                  <c:v>134.74</c:v>
                </c:pt>
                <c:pt idx="1117">
                  <c:v>134.22</c:v>
                </c:pt>
                <c:pt idx="1118">
                  <c:v>134.97</c:v>
                </c:pt>
                <c:pt idx="1119">
                  <c:v>138.41999999999999</c:v>
                </c:pt>
                <c:pt idx="1120">
                  <c:v>135.62</c:v>
                </c:pt>
                <c:pt idx="1121">
                  <c:v>137</c:v>
                </c:pt>
                <c:pt idx="1122">
                  <c:v>138.72</c:v>
                </c:pt>
                <c:pt idx="1123">
                  <c:v>136.83000000000001</c:v>
                </c:pt>
                <c:pt idx="1124">
                  <c:v>139.77000000000001</c:v>
                </c:pt>
                <c:pt idx="1125">
                  <c:v>142.12</c:v>
                </c:pt>
                <c:pt idx="1126">
                  <c:v>142.58000000000001</c:v>
                </c:pt>
                <c:pt idx="1127">
                  <c:v>143.15</c:v>
                </c:pt>
                <c:pt idx="1128">
                  <c:v>143.9</c:v>
                </c:pt>
                <c:pt idx="1129">
                  <c:v>145.97999999999999</c:v>
                </c:pt>
                <c:pt idx="1130">
                  <c:v>148.32</c:v>
                </c:pt>
                <c:pt idx="1131">
                  <c:v>149.88999999999999</c:v>
                </c:pt>
                <c:pt idx="1132">
                  <c:v>148.52000000000001</c:v>
                </c:pt>
                <c:pt idx="1133">
                  <c:v>148.53</c:v>
                </c:pt>
                <c:pt idx="1134">
                  <c:v>149.26</c:v>
                </c:pt>
                <c:pt idx="1135">
                  <c:v>148.12</c:v>
                </c:pt>
                <c:pt idx="1136">
                  <c:v>148.54</c:v>
                </c:pt>
                <c:pt idx="1137">
                  <c:v>150.37</c:v>
                </c:pt>
                <c:pt idx="1138">
                  <c:v>150.35</c:v>
                </c:pt>
                <c:pt idx="1139">
                  <c:v>150.49</c:v>
                </c:pt>
                <c:pt idx="1140">
                  <c:v>150.22999999999999</c:v>
                </c:pt>
                <c:pt idx="1141">
                  <c:v>148.05000000000001</c:v>
                </c:pt>
                <c:pt idx="1142">
                  <c:v>149.84</c:v>
                </c:pt>
                <c:pt idx="1143">
                  <c:v>149.4</c:v>
                </c:pt>
                <c:pt idx="1144">
                  <c:v>151.16999999999999</c:v>
                </c:pt>
                <c:pt idx="1145">
                  <c:v>151.66</c:v>
                </c:pt>
                <c:pt idx="1146">
                  <c:v>151.29</c:v>
                </c:pt>
                <c:pt idx="1147">
                  <c:v>151.33000000000001</c:v>
                </c:pt>
                <c:pt idx="1148">
                  <c:v>152.22</c:v>
                </c:pt>
                <c:pt idx="1149">
                  <c:v>153.03</c:v>
                </c:pt>
                <c:pt idx="1150">
                  <c:v>153.08000000000001</c:v>
                </c:pt>
                <c:pt idx="1151">
                  <c:v>154.49</c:v>
                </c:pt>
                <c:pt idx="1152">
                  <c:v>155.99</c:v>
                </c:pt>
                <c:pt idx="1153">
                  <c:v>156.08000000000001</c:v>
                </c:pt>
                <c:pt idx="1154">
                  <c:v>156.96</c:v>
                </c:pt>
                <c:pt idx="1155">
                  <c:v>156.77000000000001</c:v>
                </c:pt>
                <c:pt idx="1156">
                  <c:v>156.55000000000001</c:v>
                </c:pt>
                <c:pt idx="1157">
                  <c:v>154.79</c:v>
                </c:pt>
                <c:pt idx="1158">
                  <c:v>155.66999999999999</c:v>
                </c:pt>
                <c:pt idx="1159">
                  <c:v>157.03</c:v>
                </c:pt>
                <c:pt idx="1160">
                  <c:v>156.47</c:v>
                </c:pt>
                <c:pt idx="1161">
                  <c:v>156.02000000000001</c:v>
                </c:pt>
                <c:pt idx="1162">
                  <c:v>154.9</c:v>
                </c:pt>
                <c:pt idx="1163">
                  <c:v>156.97</c:v>
                </c:pt>
                <c:pt idx="1164">
                  <c:v>156.51</c:v>
                </c:pt>
                <c:pt idx="1165">
                  <c:v>156.31</c:v>
                </c:pt>
                <c:pt idx="1166">
                  <c:v>157.82</c:v>
                </c:pt>
                <c:pt idx="1167">
                  <c:v>156.81</c:v>
                </c:pt>
                <c:pt idx="1168">
                  <c:v>157</c:v>
                </c:pt>
                <c:pt idx="1169">
                  <c:v>157.16</c:v>
                </c:pt>
                <c:pt idx="1170">
                  <c:v>159.22999999999999</c:v>
                </c:pt>
                <c:pt idx="1171">
                  <c:v>158.83000000000001</c:v>
                </c:pt>
                <c:pt idx="1172">
                  <c:v>159.83000000000001</c:v>
                </c:pt>
                <c:pt idx="1173">
                  <c:v>158.59</c:v>
                </c:pt>
                <c:pt idx="1174">
                  <c:v>157.59</c:v>
                </c:pt>
                <c:pt idx="1175">
                  <c:v>157.83000000000001</c:v>
                </c:pt>
                <c:pt idx="1176">
                  <c:v>159.31</c:v>
                </c:pt>
                <c:pt idx="1177">
                  <c:v>157.94999999999999</c:v>
                </c:pt>
                <c:pt idx="1178">
                  <c:v>158.81</c:v>
                </c:pt>
                <c:pt idx="1179">
                  <c:v>158.69999999999999</c:v>
                </c:pt>
                <c:pt idx="1180">
                  <c:v>161.34</c:v>
                </c:pt>
                <c:pt idx="1181">
                  <c:v>161.09</c:v>
                </c:pt>
                <c:pt idx="1182">
                  <c:v>162.85</c:v>
                </c:pt>
                <c:pt idx="1183">
                  <c:v>164.07</c:v>
                </c:pt>
                <c:pt idx="1184">
                  <c:v>164.75</c:v>
                </c:pt>
                <c:pt idx="1185">
                  <c:v>163.98</c:v>
                </c:pt>
                <c:pt idx="1186">
                  <c:v>164.32</c:v>
                </c:pt>
                <c:pt idx="1187">
                  <c:v>162.88</c:v>
                </c:pt>
                <c:pt idx="1188">
                  <c:v>160.16</c:v>
                </c:pt>
                <c:pt idx="1189">
                  <c:v>161.83000000000001</c:v>
                </c:pt>
                <c:pt idx="1190">
                  <c:v>162.28</c:v>
                </c:pt>
                <c:pt idx="1191">
                  <c:v>161.08000000000001</c:v>
                </c:pt>
                <c:pt idx="1192">
                  <c:v>159.84</c:v>
                </c:pt>
                <c:pt idx="1193">
                  <c:v>160.32</c:v>
                </c:pt>
                <c:pt idx="1194">
                  <c:v>162.27000000000001</c:v>
                </c:pt>
                <c:pt idx="1195">
                  <c:v>160.15</c:v>
                </c:pt>
                <c:pt idx="1196">
                  <c:v>156.49</c:v>
                </c:pt>
                <c:pt idx="1197">
                  <c:v>156.94</c:v>
                </c:pt>
                <c:pt idx="1198">
                  <c:v>156.94</c:v>
                </c:pt>
                <c:pt idx="1199">
                  <c:v>158.16999999999999</c:v>
                </c:pt>
                <c:pt idx="1200">
                  <c:v>154.26</c:v>
                </c:pt>
                <c:pt idx="1201">
                  <c:v>153.6</c:v>
                </c:pt>
                <c:pt idx="1202">
                  <c:v>153.72</c:v>
                </c:pt>
                <c:pt idx="1203">
                  <c:v>157.41</c:v>
                </c:pt>
                <c:pt idx="1204">
                  <c:v>157.01</c:v>
                </c:pt>
                <c:pt idx="1205">
                  <c:v>155.4</c:v>
                </c:pt>
                <c:pt idx="1206">
                  <c:v>155.04</c:v>
                </c:pt>
                <c:pt idx="1207">
                  <c:v>156.91999999999999</c:v>
                </c:pt>
                <c:pt idx="1208">
                  <c:v>156.25</c:v>
                </c:pt>
                <c:pt idx="1209">
                  <c:v>156.59</c:v>
                </c:pt>
                <c:pt idx="1210">
                  <c:v>159.22999999999999</c:v>
                </c:pt>
                <c:pt idx="1211">
                  <c:v>159.19</c:v>
                </c:pt>
                <c:pt idx="1212">
                  <c:v>159.4</c:v>
                </c:pt>
                <c:pt idx="1213">
                  <c:v>159.02000000000001</c:v>
                </c:pt>
                <c:pt idx="1214">
                  <c:v>157.97999999999999</c:v>
                </c:pt>
                <c:pt idx="1215">
                  <c:v>156.91</c:v>
                </c:pt>
                <c:pt idx="1216">
                  <c:v>158.75</c:v>
                </c:pt>
                <c:pt idx="1217">
                  <c:v>157.44</c:v>
                </c:pt>
                <c:pt idx="1218">
                  <c:v>154.97999999999999</c:v>
                </c:pt>
                <c:pt idx="1219">
                  <c:v>154.97999999999999</c:v>
                </c:pt>
                <c:pt idx="1220">
                  <c:v>154.51</c:v>
                </c:pt>
                <c:pt idx="1221">
                  <c:v>155.09</c:v>
                </c:pt>
                <c:pt idx="1222">
                  <c:v>154.03</c:v>
                </c:pt>
                <c:pt idx="1223">
                  <c:v>152.25</c:v>
                </c:pt>
                <c:pt idx="1224">
                  <c:v>150.52000000000001</c:v>
                </c:pt>
                <c:pt idx="1225">
                  <c:v>150.19</c:v>
                </c:pt>
                <c:pt idx="1226">
                  <c:v>152.65</c:v>
                </c:pt>
                <c:pt idx="1227">
                  <c:v>153.74</c:v>
                </c:pt>
                <c:pt idx="1228">
                  <c:v>151.93</c:v>
                </c:pt>
                <c:pt idx="1229">
                  <c:v>149.63999999999999</c:v>
                </c:pt>
                <c:pt idx="1230">
                  <c:v>150.31</c:v>
                </c:pt>
                <c:pt idx="1231">
                  <c:v>149.27000000000001</c:v>
                </c:pt>
                <c:pt idx="1232">
                  <c:v>150.28</c:v>
                </c:pt>
                <c:pt idx="1233">
                  <c:v>150.44999999999999</c:v>
                </c:pt>
                <c:pt idx="1234">
                  <c:v>155.57</c:v>
                </c:pt>
                <c:pt idx="1235">
                  <c:v>157.16999999999999</c:v>
                </c:pt>
                <c:pt idx="1236">
                  <c:v>156.38999999999999</c:v>
                </c:pt>
                <c:pt idx="1237">
                  <c:v>156.16999999999999</c:v>
                </c:pt>
                <c:pt idx="1238">
                  <c:v>156.72999999999999</c:v>
                </c:pt>
                <c:pt idx="1239">
                  <c:v>151.49</c:v>
                </c:pt>
                <c:pt idx="1240">
                  <c:v>149.52000000000001</c:v>
                </c:pt>
                <c:pt idx="1241">
                  <c:v>151.88999999999999</c:v>
                </c:pt>
                <c:pt idx="1242">
                  <c:v>151.37</c:v>
                </c:pt>
                <c:pt idx="1243">
                  <c:v>150.65</c:v>
                </c:pt>
                <c:pt idx="1244">
                  <c:v>147.65</c:v>
                </c:pt>
                <c:pt idx="1245">
                  <c:v>144.88</c:v>
                </c:pt>
                <c:pt idx="1246">
                  <c:v>146.41</c:v>
                </c:pt>
                <c:pt idx="1247">
                  <c:v>150.11000000000001</c:v>
                </c:pt>
                <c:pt idx="1248">
                  <c:v>154.46</c:v>
                </c:pt>
                <c:pt idx="1249">
                  <c:v>156.94</c:v>
                </c:pt>
                <c:pt idx="1250">
                  <c:v>157.36000000000001</c:v>
                </c:pt>
                <c:pt idx="1251">
                  <c:v>158.03</c:v>
                </c:pt>
                <c:pt idx="1252">
                  <c:v>160.58000000000001</c:v>
                </c:pt>
                <c:pt idx="1253">
                  <c:v>160.09</c:v>
                </c:pt>
                <c:pt idx="1254">
                  <c:v>161.03</c:v>
                </c:pt>
                <c:pt idx="1255">
                  <c:v>159.47999999999999</c:v>
                </c:pt>
                <c:pt idx="1256">
                  <c:v>158.9</c:v>
                </c:pt>
                <c:pt idx="1257">
                  <c:v>158.62</c:v>
                </c:pt>
                <c:pt idx="1258">
                  <c:v>157.57</c:v>
                </c:pt>
                <c:pt idx="1259">
                  <c:v>154.41999999999999</c:v>
                </c:pt>
                <c:pt idx="1260">
                  <c:v>155.97999999999999</c:v>
                </c:pt>
                <c:pt idx="1261">
                  <c:v>156.86000000000001</c:v>
                </c:pt>
                <c:pt idx="1262">
                  <c:v>157.68</c:v>
                </c:pt>
                <c:pt idx="1263">
                  <c:v>159.51</c:v>
                </c:pt>
                <c:pt idx="1264">
                  <c:v>159.09</c:v>
                </c:pt>
                <c:pt idx="1265">
                  <c:v>160.19999999999999</c:v>
                </c:pt>
                <c:pt idx="1266">
                  <c:v>160.13999999999999</c:v>
                </c:pt>
                <c:pt idx="1267">
                  <c:v>159.13</c:v>
                </c:pt>
                <c:pt idx="1268">
                  <c:v>160.6</c:v>
                </c:pt>
                <c:pt idx="1269">
                  <c:v>158.21</c:v>
                </c:pt>
                <c:pt idx="1270">
                  <c:v>154.38999999999999</c:v>
                </c:pt>
                <c:pt idx="1271">
                  <c:v>155.79</c:v>
                </c:pt>
                <c:pt idx="1272">
                  <c:v>155.47</c:v>
                </c:pt>
                <c:pt idx="1273">
                  <c:v>155.76</c:v>
                </c:pt>
                <c:pt idx="1274">
                  <c:v>155.68</c:v>
                </c:pt>
                <c:pt idx="1275">
                  <c:v>153.16999999999999</c:v>
                </c:pt>
                <c:pt idx="1276">
                  <c:v>150.69999999999999</c:v>
                </c:pt>
                <c:pt idx="1277">
                  <c:v>146.33000000000001</c:v>
                </c:pt>
                <c:pt idx="1278">
                  <c:v>138.32</c:v>
                </c:pt>
                <c:pt idx="1279">
                  <c:v>143.74</c:v>
                </c:pt>
                <c:pt idx="1280">
                  <c:v>142.33000000000001</c:v>
                </c:pt>
                <c:pt idx="1281">
                  <c:v>146.88999999999999</c:v>
                </c:pt>
                <c:pt idx="1282">
                  <c:v>147.13999999999999</c:v>
                </c:pt>
                <c:pt idx="1283">
                  <c:v>146.49</c:v>
                </c:pt>
                <c:pt idx="1284">
                  <c:v>143.24</c:v>
                </c:pt>
                <c:pt idx="1285">
                  <c:v>143.76</c:v>
                </c:pt>
                <c:pt idx="1286">
                  <c:v>146.49</c:v>
                </c:pt>
                <c:pt idx="1287">
                  <c:v>143.16999999999999</c:v>
                </c:pt>
                <c:pt idx="1288">
                  <c:v>143.71</c:v>
                </c:pt>
                <c:pt idx="1289">
                  <c:v>145.36000000000001</c:v>
                </c:pt>
                <c:pt idx="1290">
                  <c:v>147.04</c:v>
                </c:pt>
                <c:pt idx="1291">
                  <c:v>145.41999999999999</c:v>
                </c:pt>
                <c:pt idx="1292">
                  <c:v>143.91999999999999</c:v>
                </c:pt>
                <c:pt idx="1293">
                  <c:v>142.99</c:v>
                </c:pt>
                <c:pt idx="1294">
                  <c:v>143.91999999999999</c:v>
                </c:pt>
                <c:pt idx="1295">
                  <c:v>146.13</c:v>
                </c:pt>
                <c:pt idx="1296">
                  <c:v>146.29</c:v>
                </c:pt>
                <c:pt idx="1297">
                  <c:v>143.47</c:v>
                </c:pt>
                <c:pt idx="1298">
                  <c:v>144.97999999999999</c:v>
                </c:pt>
                <c:pt idx="1299">
                  <c:v>140.74</c:v>
                </c:pt>
                <c:pt idx="1300">
                  <c:v>141.5</c:v>
                </c:pt>
                <c:pt idx="1301">
                  <c:v>138.49</c:v>
                </c:pt>
                <c:pt idx="1302">
                  <c:v>142.57</c:v>
                </c:pt>
                <c:pt idx="1303">
                  <c:v>139.93</c:v>
                </c:pt>
                <c:pt idx="1304">
                  <c:v>140.05000000000001</c:v>
                </c:pt>
                <c:pt idx="1305">
                  <c:v>142.91</c:v>
                </c:pt>
              </c:numCache>
            </c:numRef>
          </c:val>
          <c:smooth val="0"/>
        </c:ser>
        <c:ser>
          <c:idx val="1"/>
          <c:order val="1"/>
          <c:tx>
            <c:strRef>
              <c:f>Sheet1!$C$1</c:f>
              <c:strCache>
                <c:ptCount val="1"/>
                <c:pt idx="0">
                  <c:v>Benchmark 1</c:v>
                </c:pt>
              </c:strCache>
            </c:strRef>
          </c:tx>
          <c:spPr>
            <a:ln w="19050">
              <a:solidFill>
                <a:schemeClr val="accent2"/>
              </a:solidFill>
              <a:prstDash val="solid"/>
            </a:ln>
          </c:spPr>
          <c:marker>
            <c:symbol val="none"/>
          </c:marker>
          <c:cat>
            <c:strRef>
              <c:f>Sheet1!$A$2:$A$1247</c:f>
              <c:strCache>
                <c:ptCount val="1246"/>
                <c:pt idx="0">
                  <c:v>Nov-08 </c:v>
                </c:pt>
                <c:pt idx="1">
                  <c:v>Nov-08 </c:v>
                </c:pt>
                <c:pt idx="2">
                  <c:v>Nov-08 </c:v>
                </c:pt>
                <c:pt idx="3">
                  <c:v>Nov-08 </c:v>
                </c:pt>
                <c:pt idx="4">
                  <c:v>Nov-08 </c:v>
                </c:pt>
                <c:pt idx="5">
                  <c:v>Nov-08 </c:v>
                </c:pt>
                <c:pt idx="6">
                  <c:v>Nov-08 </c:v>
                </c:pt>
                <c:pt idx="7">
                  <c:v>Nov-08 </c:v>
                </c:pt>
                <c:pt idx="8">
                  <c:v>Nov-08 </c:v>
                </c:pt>
                <c:pt idx="9">
                  <c:v>Nov-08 </c:v>
                </c:pt>
                <c:pt idx="10">
                  <c:v>Dec-08</c:v>
                </c:pt>
                <c:pt idx="11">
                  <c:v>Dec-08</c:v>
                </c:pt>
                <c:pt idx="12">
                  <c:v>Dec-08</c:v>
                </c:pt>
                <c:pt idx="13">
                  <c:v>Dec-08</c:v>
                </c:pt>
                <c:pt idx="14">
                  <c:v>Dec-08</c:v>
                </c:pt>
                <c:pt idx="15">
                  <c:v>Dec-08</c:v>
                </c:pt>
                <c:pt idx="16">
                  <c:v>Dec-08</c:v>
                </c:pt>
                <c:pt idx="17">
                  <c:v>Dec-08</c:v>
                </c:pt>
                <c:pt idx="18">
                  <c:v>Dec-08</c:v>
                </c:pt>
                <c:pt idx="19">
                  <c:v>Dec-08</c:v>
                </c:pt>
                <c:pt idx="20">
                  <c:v>Dec-08</c:v>
                </c:pt>
                <c:pt idx="21">
                  <c:v>Dec-08</c:v>
                </c:pt>
                <c:pt idx="22">
                  <c:v>Dec-08</c:v>
                </c:pt>
                <c:pt idx="23">
                  <c:v>Dec-08</c:v>
                </c:pt>
                <c:pt idx="24">
                  <c:v>Dec-08</c:v>
                </c:pt>
                <c:pt idx="25">
                  <c:v>Dec-08</c:v>
                </c:pt>
                <c:pt idx="26">
                  <c:v>Dec-08</c:v>
                </c:pt>
                <c:pt idx="27">
                  <c:v>Dec-08</c:v>
                </c:pt>
                <c:pt idx="28">
                  <c:v>Dec-08</c:v>
                </c:pt>
                <c:pt idx="29">
                  <c:v>Dec-08</c:v>
                </c:pt>
                <c:pt idx="30">
                  <c:v>Dec-08</c:v>
                </c:pt>
                <c:pt idx="31">
                  <c:v>Jan-09 </c:v>
                </c:pt>
                <c:pt idx="32">
                  <c:v>Jan-09 </c:v>
                </c:pt>
                <c:pt idx="33">
                  <c:v>Jan-09 </c:v>
                </c:pt>
                <c:pt idx="34">
                  <c:v>Jan-09 </c:v>
                </c:pt>
                <c:pt idx="35">
                  <c:v>Jan-09 </c:v>
                </c:pt>
                <c:pt idx="36">
                  <c:v>Jan-09 </c:v>
                </c:pt>
                <c:pt idx="37">
                  <c:v>Jan-09 </c:v>
                </c:pt>
                <c:pt idx="38">
                  <c:v>Jan-09 </c:v>
                </c:pt>
                <c:pt idx="39">
                  <c:v>Jan-09 </c:v>
                </c:pt>
                <c:pt idx="40">
                  <c:v>Jan-09 </c:v>
                </c:pt>
                <c:pt idx="41">
                  <c:v>Jan-09 </c:v>
                </c:pt>
                <c:pt idx="42">
                  <c:v>Jan-09 </c:v>
                </c:pt>
                <c:pt idx="43">
                  <c:v>Jan-09 </c:v>
                </c:pt>
                <c:pt idx="44">
                  <c:v>Jan-09 </c:v>
                </c:pt>
                <c:pt idx="45">
                  <c:v>Jan-09 </c:v>
                </c:pt>
                <c:pt idx="46">
                  <c:v>Jan-09 </c:v>
                </c:pt>
                <c:pt idx="47">
                  <c:v>Jan-09 </c:v>
                </c:pt>
                <c:pt idx="48">
                  <c:v>Jan-09 </c:v>
                </c:pt>
                <c:pt idx="49">
                  <c:v>Jan-09 </c:v>
                </c:pt>
                <c:pt idx="50">
                  <c:v>Jan-09 </c:v>
                </c:pt>
                <c:pt idx="51">
                  <c:v>Jan-09 </c:v>
                </c:pt>
                <c:pt idx="52">
                  <c:v>Feb-09 </c:v>
                </c:pt>
                <c:pt idx="53">
                  <c:v>Feb-09 </c:v>
                </c:pt>
                <c:pt idx="54">
                  <c:v>Feb-09 </c:v>
                </c:pt>
                <c:pt idx="55">
                  <c:v>Feb-09 </c:v>
                </c:pt>
                <c:pt idx="56">
                  <c:v>Feb-09 </c:v>
                </c:pt>
                <c:pt idx="57">
                  <c:v>Feb-09 </c:v>
                </c:pt>
                <c:pt idx="58">
                  <c:v>Feb-09 </c:v>
                </c:pt>
                <c:pt idx="59">
                  <c:v>Feb-09 </c:v>
                </c:pt>
                <c:pt idx="60">
                  <c:v>Feb-09 </c:v>
                </c:pt>
                <c:pt idx="61">
                  <c:v>Feb-09 </c:v>
                </c:pt>
                <c:pt idx="62">
                  <c:v>Feb-09 </c:v>
                </c:pt>
                <c:pt idx="63">
                  <c:v>Feb-09 </c:v>
                </c:pt>
                <c:pt idx="64">
                  <c:v>Feb-09 </c:v>
                </c:pt>
                <c:pt idx="65">
                  <c:v>Feb-09 </c:v>
                </c:pt>
                <c:pt idx="66">
                  <c:v>Feb-09 </c:v>
                </c:pt>
                <c:pt idx="67">
                  <c:v>Feb-09 </c:v>
                </c:pt>
                <c:pt idx="68">
                  <c:v>Feb-09 </c:v>
                </c:pt>
                <c:pt idx="69">
                  <c:v>Feb-09 </c:v>
                </c:pt>
                <c:pt idx="70">
                  <c:v>Feb-09 </c:v>
                </c:pt>
                <c:pt idx="71">
                  <c:v>Feb-09 </c:v>
                </c:pt>
                <c:pt idx="72">
                  <c:v>Mar-09 </c:v>
                </c:pt>
                <c:pt idx="73">
                  <c:v>Mar-09 </c:v>
                </c:pt>
                <c:pt idx="74">
                  <c:v>Mar-09 </c:v>
                </c:pt>
                <c:pt idx="75">
                  <c:v>Mar-09 </c:v>
                </c:pt>
                <c:pt idx="76">
                  <c:v>Mar-09 </c:v>
                </c:pt>
                <c:pt idx="77">
                  <c:v>Mar-09 </c:v>
                </c:pt>
                <c:pt idx="78">
                  <c:v>Mar-09 </c:v>
                </c:pt>
                <c:pt idx="79">
                  <c:v>Mar-09 </c:v>
                </c:pt>
                <c:pt idx="80">
                  <c:v>Mar-09 </c:v>
                </c:pt>
                <c:pt idx="81">
                  <c:v>Mar-09 </c:v>
                </c:pt>
                <c:pt idx="82">
                  <c:v>Mar-09 </c:v>
                </c:pt>
                <c:pt idx="83">
                  <c:v>Mar-09 </c:v>
                </c:pt>
                <c:pt idx="84">
                  <c:v>Mar-09 </c:v>
                </c:pt>
                <c:pt idx="85">
                  <c:v>Mar-09 </c:v>
                </c:pt>
                <c:pt idx="86">
                  <c:v>Mar-09 </c:v>
                </c:pt>
                <c:pt idx="87">
                  <c:v>Mar-09 </c:v>
                </c:pt>
                <c:pt idx="88">
                  <c:v>Mar-09 </c:v>
                </c:pt>
                <c:pt idx="89">
                  <c:v>Mar-09 </c:v>
                </c:pt>
                <c:pt idx="90">
                  <c:v>Mar-09 </c:v>
                </c:pt>
                <c:pt idx="91">
                  <c:v>Mar-09 </c:v>
                </c:pt>
                <c:pt idx="92">
                  <c:v>Mar-09 </c:v>
                </c:pt>
                <c:pt idx="93">
                  <c:v>Mar-09 </c:v>
                </c:pt>
                <c:pt idx="94">
                  <c:v>Apr-09</c:v>
                </c:pt>
                <c:pt idx="95">
                  <c:v>Apr-09</c:v>
                </c:pt>
                <c:pt idx="96">
                  <c:v>Apr-09</c:v>
                </c:pt>
                <c:pt idx="97">
                  <c:v>Apr-09</c:v>
                </c:pt>
                <c:pt idx="98">
                  <c:v>Apr-09</c:v>
                </c:pt>
                <c:pt idx="99">
                  <c:v>Apr-09</c:v>
                </c:pt>
                <c:pt idx="100">
                  <c:v>Apr-09</c:v>
                </c:pt>
                <c:pt idx="101">
                  <c:v>Apr-09</c:v>
                </c:pt>
                <c:pt idx="102">
                  <c:v>Apr-09</c:v>
                </c:pt>
                <c:pt idx="103">
                  <c:v>Apr-09</c:v>
                </c:pt>
                <c:pt idx="104">
                  <c:v>Apr-09</c:v>
                </c:pt>
                <c:pt idx="105">
                  <c:v>Apr-09</c:v>
                </c:pt>
                <c:pt idx="106">
                  <c:v>Apr-09</c:v>
                </c:pt>
                <c:pt idx="107">
                  <c:v>Apr-09</c:v>
                </c:pt>
                <c:pt idx="108">
                  <c:v>Apr-09</c:v>
                </c:pt>
                <c:pt idx="109">
                  <c:v>Apr-09</c:v>
                </c:pt>
                <c:pt idx="110">
                  <c:v>Apr-09</c:v>
                </c:pt>
                <c:pt idx="111">
                  <c:v>Apr-09</c:v>
                </c:pt>
                <c:pt idx="112">
                  <c:v>Apr-09</c:v>
                </c:pt>
                <c:pt idx="113">
                  <c:v>Apr-09</c:v>
                </c:pt>
                <c:pt idx="114">
                  <c:v>May-09 </c:v>
                </c:pt>
                <c:pt idx="115">
                  <c:v>May-09 </c:v>
                </c:pt>
                <c:pt idx="116">
                  <c:v>May-09 </c:v>
                </c:pt>
                <c:pt idx="117">
                  <c:v>May-09 </c:v>
                </c:pt>
                <c:pt idx="118">
                  <c:v>May-09 </c:v>
                </c:pt>
                <c:pt idx="119">
                  <c:v>May-09 </c:v>
                </c:pt>
                <c:pt idx="120">
                  <c:v>May-09 </c:v>
                </c:pt>
                <c:pt idx="121">
                  <c:v>May-09 </c:v>
                </c:pt>
                <c:pt idx="122">
                  <c:v>May-09 </c:v>
                </c:pt>
                <c:pt idx="123">
                  <c:v>May-09 </c:v>
                </c:pt>
                <c:pt idx="124">
                  <c:v>May-09 </c:v>
                </c:pt>
                <c:pt idx="125">
                  <c:v>May-09 </c:v>
                </c:pt>
                <c:pt idx="126">
                  <c:v>May-09 </c:v>
                </c:pt>
                <c:pt idx="127">
                  <c:v>May-09 </c:v>
                </c:pt>
                <c:pt idx="128">
                  <c:v>May-09 </c:v>
                </c:pt>
                <c:pt idx="129">
                  <c:v>May-09 </c:v>
                </c:pt>
                <c:pt idx="130">
                  <c:v>May-09 </c:v>
                </c:pt>
                <c:pt idx="131">
                  <c:v>May-09 </c:v>
                </c:pt>
                <c:pt idx="132">
                  <c:v>May-09 </c:v>
                </c:pt>
                <c:pt idx="133">
                  <c:v>May-09 </c:v>
                </c:pt>
                <c:pt idx="134">
                  <c:v>May-09 </c:v>
                </c:pt>
                <c:pt idx="135">
                  <c:v>Jun-09 </c:v>
                </c:pt>
                <c:pt idx="136">
                  <c:v>Jun-09 </c:v>
                </c:pt>
                <c:pt idx="137">
                  <c:v>Jun-09 </c:v>
                </c:pt>
                <c:pt idx="138">
                  <c:v>Jun-09 </c:v>
                </c:pt>
                <c:pt idx="139">
                  <c:v>Jun-09 </c:v>
                </c:pt>
                <c:pt idx="140">
                  <c:v>Jun-09 </c:v>
                </c:pt>
                <c:pt idx="141">
                  <c:v>Jun-09 </c:v>
                </c:pt>
                <c:pt idx="142">
                  <c:v>Jun-09 </c:v>
                </c:pt>
                <c:pt idx="143">
                  <c:v>Jun-09 </c:v>
                </c:pt>
                <c:pt idx="144">
                  <c:v>Jun-09 </c:v>
                </c:pt>
                <c:pt idx="145">
                  <c:v>Jun-09 </c:v>
                </c:pt>
                <c:pt idx="146">
                  <c:v>Jun-09 </c:v>
                </c:pt>
                <c:pt idx="147">
                  <c:v>Jun-09 </c:v>
                </c:pt>
                <c:pt idx="148">
                  <c:v>Jun-09 </c:v>
                </c:pt>
                <c:pt idx="149">
                  <c:v>Jun-09 </c:v>
                </c:pt>
                <c:pt idx="150">
                  <c:v>Jun-09 </c:v>
                </c:pt>
                <c:pt idx="151">
                  <c:v>Jun-09 </c:v>
                </c:pt>
                <c:pt idx="152">
                  <c:v>Jun-09 </c:v>
                </c:pt>
                <c:pt idx="153">
                  <c:v>Jun-09 </c:v>
                </c:pt>
                <c:pt idx="154">
                  <c:v>Jun-09 </c:v>
                </c:pt>
                <c:pt idx="155">
                  <c:v>Jun-09 </c:v>
                </c:pt>
                <c:pt idx="156">
                  <c:v>Jun-09 </c:v>
                </c:pt>
                <c:pt idx="157">
                  <c:v>Jul-09</c:v>
                </c:pt>
                <c:pt idx="158">
                  <c:v>Jul-09</c:v>
                </c:pt>
                <c:pt idx="159">
                  <c:v>Jul-09</c:v>
                </c:pt>
                <c:pt idx="160">
                  <c:v>Jul-09</c:v>
                </c:pt>
                <c:pt idx="161">
                  <c:v>Jul-09</c:v>
                </c:pt>
                <c:pt idx="162">
                  <c:v>Jul-09</c:v>
                </c:pt>
                <c:pt idx="163">
                  <c:v>Jul-09</c:v>
                </c:pt>
                <c:pt idx="164">
                  <c:v>Jul-09</c:v>
                </c:pt>
                <c:pt idx="165">
                  <c:v>Jul-09</c:v>
                </c:pt>
                <c:pt idx="166">
                  <c:v>Jul-09</c:v>
                </c:pt>
                <c:pt idx="167">
                  <c:v>Jul-09</c:v>
                </c:pt>
                <c:pt idx="168">
                  <c:v>Jul-09</c:v>
                </c:pt>
                <c:pt idx="169">
                  <c:v>Jul-09</c:v>
                </c:pt>
                <c:pt idx="170">
                  <c:v>Jul-09</c:v>
                </c:pt>
                <c:pt idx="171">
                  <c:v>Jul-09</c:v>
                </c:pt>
                <c:pt idx="172">
                  <c:v>Jul-09</c:v>
                </c:pt>
                <c:pt idx="173">
                  <c:v>Jul-09</c:v>
                </c:pt>
                <c:pt idx="174">
                  <c:v>Jul-09</c:v>
                </c:pt>
                <c:pt idx="175">
                  <c:v>Jul-09</c:v>
                </c:pt>
                <c:pt idx="176">
                  <c:v>Jul-09</c:v>
                </c:pt>
                <c:pt idx="177">
                  <c:v>Jul-09</c:v>
                </c:pt>
                <c:pt idx="178">
                  <c:v>Jul-09</c:v>
                </c:pt>
                <c:pt idx="179">
                  <c:v>Jul-09</c:v>
                </c:pt>
                <c:pt idx="180">
                  <c:v>Aug-09 </c:v>
                </c:pt>
                <c:pt idx="181">
                  <c:v>Aug-09 </c:v>
                </c:pt>
                <c:pt idx="182">
                  <c:v>Aug-09 </c:v>
                </c:pt>
                <c:pt idx="183">
                  <c:v>Aug-09 </c:v>
                </c:pt>
                <c:pt idx="184">
                  <c:v>Aug-09 </c:v>
                </c:pt>
                <c:pt idx="185">
                  <c:v>Aug-09 </c:v>
                </c:pt>
                <c:pt idx="186">
                  <c:v>Aug-09 </c:v>
                </c:pt>
                <c:pt idx="187">
                  <c:v>Aug-09 </c:v>
                </c:pt>
                <c:pt idx="188">
                  <c:v>Aug-09 </c:v>
                </c:pt>
                <c:pt idx="189">
                  <c:v>Aug-09 </c:v>
                </c:pt>
                <c:pt idx="190">
                  <c:v>Aug-09 </c:v>
                </c:pt>
                <c:pt idx="191">
                  <c:v>Aug-09 </c:v>
                </c:pt>
                <c:pt idx="192">
                  <c:v>Aug-09 </c:v>
                </c:pt>
                <c:pt idx="193">
                  <c:v>Aug-09 </c:v>
                </c:pt>
                <c:pt idx="194">
                  <c:v>Aug-09 </c:v>
                </c:pt>
                <c:pt idx="195">
                  <c:v>Aug-09 </c:v>
                </c:pt>
                <c:pt idx="196">
                  <c:v>Aug-09 </c:v>
                </c:pt>
                <c:pt idx="197">
                  <c:v>Aug-09 </c:v>
                </c:pt>
                <c:pt idx="198">
                  <c:v>Aug-09 </c:v>
                </c:pt>
                <c:pt idx="199">
                  <c:v>Aug-09 </c:v>
                </c:pt>
                <c:pt idx="200">
                  <c:v>Aug-09 </c:v>
                </c:pt>
                <c:pt idx="201">
                  <c:v>Sep-09</c:v>
                </c:pt>
                <c:pt idx="202">
                  <c:v>Sep-09</c:v>
                </c:pt>
                <c:pt idx="203">
                  <c:v>Sep-09</c:v>
                </c:pt>
                <c:pt idx="204">
                  <c:v>Sep-09</c:v>
                </c:pt>
                <c:pt idx="205">
                  <c:v>Sep-09</c:v>
                </c:pt>
                <c:pt idx="206">
                  <c:v>Sep-09</c:v>
                </c:pt>
                <c:pt idx="207">
                  <c:v>Sep-09</c:v>
                </c:pt>
                <c:pt idx="208">
                  <c:v>Sep-09</c:v>
                </c:pt>
                <c:pt idx="209">
                  <c:v>Sep-09</c:v>
                </c:pt>
                <c:pt idx="210">
                  <c:v>Sep-09</c:v>
                </c:pt>
                <c:pt idx="211">
                  <c:v>Sep-09</c:v>
                </c:pt>
                <c:pt idx="212">
                  <c:v>Sep-09</c:v>
                </c:pt>
                <c:pt idx="213">
                  <c:v>Sep-09</c:v>
                </c:pt>
                <c:pt idx="214">
                  <c:v>Sep-09</c:v>
                </c:pt>
                <c:pt idx="215">
                  <c:v>Sep-09</c:v>
                </c:pt>
                <c:pt idx="216">
                  <c:v>Sep-09</c:v>
                </c:pt>
                <c:pt idx="217">
                  <c:v>Sep-09</c:v>
                </c:pt>
                <c:pt idx="218">
                  <c:v>Sep-09</c:v>
                </c:pt>
                <c:pt idx="219">
                  <c:v>Sep-09</c:v>
                </c:pt>
                <c:pt idx="220">
                  <c:v>Sep-09</c:v>
                </c:pt>
                <c:pt idx="221">
                  <c:v>Sep-09</c:v>
                </c:pt>
                <c:pt idx="222">
                  <c:v>Sep-09</c:v>
                </c:pt>
                <c:pt idx="223">
                  <c:v>Oct-09</c:v>
                </c:pt>
                <c:pt idx="224">
                  <c:v>Oct-09</c:v>
                </c:pt>
                <c:pt idx="225">
                  <c:v>Oct-09</c:v>
                </c:pt>
                <c:pt idx="226">
                  <c:v>Oct-09</c:v>
                </c:pt>
                <c:pt idx="227">
                  <c:v>Oct-09</c:v>
                </c:pt>
                <c:pt idx="228">
                  <c:v>Oct-09</c:v>
                </c:pt>
                <c:pt idx="229">
                  <c:v>Oct-09</c:v>
                </c:pt>
                <c:pt idx="230">
                  <c:v>Oct-09</c:v>
                </c:pt>
                <c:pt idx="231">
                  <c:v>Oct-09</c:v>
                </c:pt>
                <c:pt idx="232">
                  <c:v>Oct-09</c:v>
                </c:pt>
                <c:pt idx="233">
                  <c:v>Oct-09</c:v>
                </c:pt>
                <c:pt idx="234">
                  <c:v>Oct-09</c:v>
                </c:pt>
                <c:pt idx="235">
                  <c:v>Oct-09</c:v>
                </c:pt>
                <c:pt idx="236">
                  <c:v>Oct-09</c:v>
                </c:pt>
                <c:pt idx="237">
                  <c:v>Oct-09</c:v>
                </c:pt>
                <c:pt idx="238">
                  <c:v>Oct-09</c:v>
                </c:pt>
                <c:pt idx="239">
                  <c:v>Oct-09</c:v>
                </c:pt>
                <c:pt idx="240">
                  <c:v>Oct-09</c:v>
                </c:pt>
                <c:pt idx="241">
                  <c:v>Oct-09</c:v>
                </c:pt>
                <c:pt idx="242">
                  <c:v>Oct-09</c:v>
                </c:pt>
                <c:pt idx="243">
                  <c:v>Oct-09</c:v>
                </c:pt>
                <c:pt idx="244">
                  <c:v>Oct-09</c:v>
                </c:pt>
                <c:pt idx="245">
                  <c:v>Nov-09 </c:v>
                </c:pt>
                <c:pt idx="246">
                  <c:v>Nov-09 </c:v>
                </c:pt>
                <c:pt idx="247">
                  <c:v>Nov-09 </c:v>
                </c:pt>
                <c:pt idx="248">
                  <c:v>Nov-09 </c:v>
                </c:pt>
                <c:pt idx="249">
                  <c:v>Nov-09 </c:v>
                </c:pt>
                <c:pt idx="250">
                  <c:v>Nov-09 </c:v>
                </c:pt>
                <c:pt idx="251">
                  <c:v>Nov-09 </c:v>
                </c:pt>
                <c:pt idx="252">
                  <c:v>Nov-09 </c:v>
                </c:pt>
                <c:pt idx="253">
                  <c:v>Nov-09 </c:v>
                </c:pt>
                <c:pt idx="254">
                  <c:v>Nov-09 </c:v>
                </c:pt>
                <c:pt idx="255">
                  <c:v>Nov-09 </c:v>
                </c:pt>
                <c:pt idx="256">
                  <c:v>Nov-09 </c:v>
                </c:pt>
                <c:pt idx="257">
                  <c:v>Nov-09 </c:v>
                </c:pt>
                <c:pt idx="258">
                  <c:v>Nov-09 </c:v>
                </c:pt>
                <c:pt idx="259">
                  <c:v>Nov-09 </c:v>
                </c:pt>
                <c:pt idx="260">
                  <c:v>Nov-09 </c:v>
                </c:pt>
                <c:pt idx="261">
                  <c:v>Nov-09 </c:v>
                </c:pt>
                <c:pt idx="262">
                  <c:v>Nov-09 </c:v>
                </c:pt>
                <c:pt idx="263">
                  <c:v>Nov-09 </c:v>
                </c:pt>
                <c:pt idx="264">
                  <c:v>Nov-09 </c:v>
                </c:pt>
                <c:pt idx="265">
                  <c:v>Nov-09 </c:v>
                </c:pt>
                <c:pt idx="266">
                  <c:v>Dec-09</c:v>
                </c:pt>
                <c:pt idx="267">
                  <c:v>Dec-09</c:v>
                </c:pt>
                <c:pt idx="268">
                  <c:v>Dec-09</c:v>
                </c:pt>
                <c:pt idx="269">
                  <c:v>Dec-09</c:v>
                </c:pt>
                <c:pt idx="270">
                  <c:v>Dec-09</c:v>
                </c:pt>
                <c:pt idx="271">
                  <c:v>Dec-09</c:v>
                </c:pt>
                <c:pt idx="272">
                  <c:v>Dec-09</c:v>
                </c:pt>
                <c:pt idx="273">
                  <c:v>Dec-09</c:v>
                </c:pt>
                <c:pt idx="274">
                  <c:v>Dec-09</c:v>
                </c:pt>
                <c:pt idx="275">
                  <c:v>Dec-09</c:v>
                </c:pt>
                <c:pt idx="276">
                  <c:v>Dec-09</c:v>
                </c:pt>
                <c:pt idx="277">
                  <c:v>Dec-09</c:v>
                </c:pt>
                <c:pt idx="278">
                  <c:v>Dec-09</c:v>
                </c:pt>
                <c:pt idx="279">
                  <c:v>Dec-09</c:v>
                </c:pt>
                <c:pt idx="280">
                  <c:v>Dec-09</c:v>
                </c:pt>
                <c:pt idx="281">
                  <c:v>Dec-09</c:v>
                </c:pt>
                <c:pt idx="282">
                  <c:v>Dec-09</c:v>
                </c:pt>
                <c:pt idx="283">
                  <c:v>Dec-09</c:v>
                </c:pt>
                <c:pt idx="284">
                  <c:v>Dec-09</c:v>
                </c:pt>
                <c:pt idx="285">
                  <c:v>Dec-09</c:v>
                </c:pt>
                <c:pt idx="286">
                  <c:v>Dec-09</c:v>
                </c:pt>
                <c:pt idx="287">
                  <c:v>Dec-09</c:v>
                </c:pt>
                <c:pt idx="288">
                  <c:v>Jan-10 </c:v>
                </c:pt>
                <c:pt idx="289">
                  <c:v>Jan-10 </c:v>
                </c:pt>
                <c:pt idx="290">
                  <c:v>Jan-10 </c:v>
                </c:pt>
                <c:pt idx="291">
                  <c:v>Jan-10 </c:v>
                </c:pt>
                <c:pt idx="292">
                  <c:v>Jan-10 </c:v>
                </c:pt>
                <c:pt idx="293">
                  <c:v>Jan-10 </c:v>
                </c:pt>
                <c:pt idx="294">
                  <c:v>Jan-10 </c:v>
                </c:pt>
                <c:pt idx="295">
                  <c:v>Jan-10 </c:v>
                </c:pt>
                <c:pt idx="296">
                  <c:v>Jan-10 </c:v>
                </c:pt>
                <c:pt idx="297">
                  <c:v>Jan-10 </c:v>
                </c:pt>
                <c:pt idx="298">
                  <c:v>Jan-10 </c:v>
                </c:pt>
                <c:pt idx="299">
                  <c:v>Jan-10 </c:v>
                </c:pt>
                <c:pt idx="300">
                  <c:v>Jan-10 </c:v>
                </c:pt>
                <c:pt idx="301">
                  <c:v>Jan-10 </c:v>
                </c:pt>
                <c:pt idx="302">
                  <c:v>Jan-10 </c:v>
                </c:pt>
                <c:pt idx="303">
                  <c:v>Jan-10 </c:v>
                </c:pt>
                <c:pt idx="304">
                  <c:v>Jan-10 </c:v>
                </c:pt>
                <c:pt idx="305">
                  <c:v>Jan-10 </c:v>
                </c:pt>
                <c:pt idx="306">
                  <c:v>Jan-10 </c:v>
                </c:pt>
                <c:pt idx="307">
                  <c:v>Jan-10 </c:v>
                </c:pt>
                <c:pt idx="308">
                  <c:v>Feb-10 </c:v>
                </c:pt>
                <c:pt idx="309">
                  <c:v>Feb-10 </c:v>
                </c:pt>
                <c:pt idx="310">
                  <c:v>Feb-10 </c:v>
                </c:pt>
                <c:pt idx="311">
                  <c:v>Feb-10 </c:v>
                </c:pt>
                <c:pt idx="312">
                  <c:v>Feb-10 </c:v>
                </c:pt>
                <c:pt idx="313">
                  <c:v>Feb-10 </c:v>
                </c:pt>
                <c:pt idx="314">
                  <c:v>Feb-10 </c:v>
                </c:pt>
                <c:pt idx="315">
                  <c:v>Feb-10 </c:v>
                </c:pt>
                <c:pt idx="316">
                  <c:v>Feb-10 </c:v>
                </c:pt>
                <c:pt idx="317">
                  <c:v>Feb-10 </c:v>
                </c:pt>
                <c:pt idx="318">
                  <c:v>Feb-10 </c:v>
                </c:pt>
                <c:pt idx="319">
                  <c:v>Feb-10 </c:v>
                </c:pt>
                <c:pt idx="320">
                  <c:v>Feb-10 </c:v>
                </c:pt>
                <c:pt idx="321">
                  <c:v>Feb-10 </c:v>
                </c:pt>
                <c:pt idx="322">
                  <c:v>Feb-10 </c:v>
                </c:pt>
                <c:pt idx="323">
                  <c:v>Feb-10 </c:v>
                </c:pt>
                <c:pt idx="324">
                  <c:v>Feb-10 </c:v>
                </c:pt>
                <c:pt idx="325">
                  <c:v>Feb-10 </c:v>
                </c:pt>
                <c:pt idx="326">
                  <c:v>Feb-10 </c:v>
                </c:pt>
                <c:pt idx="327">
                  <c:v>Feb-10 </c:v>
                </c:pt>
                <c:pt idx="328">
                  <c:v>Mar-10 </c:v>
                </c:pt>
                <c:pt idx="329">
                  <c:v>Mar-10 </c:v>
                </c:pt>
                <c:pt idx="330">
                  <c:v>Mar-10 </c:v>
                </c:pt>
                <c:pt idx="331">
                  <c:v>Mar-10 </c:v>
                </c:pt>
                <c:pt idx="332">
                  <c:v>Mar-10 </c:v>
                </c:pt>
                <c:pt idx="333">
                  <c:v>Mar-10 </c:v>
                </c:pt>
                <c:pt idx="334">
                  <c:v>Mar-10 </c:v>
                </c:pt>
                <c:pt idx="335">
                  <c:v>Mar-10 </c:v>
                </c:pt>
                <c:pt idx="336">
                  <c:v>Mar-10 </c:v>
                </c:pt>
                <c:pt idx="337">
                  <c:v>Mar-10 </c:v>
                </c:pt>
                <c:pt idx="338">
                  <c:v>Mar-10 </c:v>
                </c:pt>
                <c:pt idx="339">
                  <c:v>Mar-10 </c:v>
                </c:pt>
                <c:pt idx="340">
                  <c:v>Mar-10 </c:v>
                </c:pt>
                <c:pt idx="341">
                  <c:v>Mar-10 </c:v>
                </c:pt>
                <c:pt idx="342">
                  <c:v>Mar-10 </c:v>
                </c:pt>
                <c:pt idx="343">
                  <c:v>Mar-10 </c:v>
                </c:pt>
                <c:pt idx="344">
                  <c:v>Mar-10 </c:v>
                </c:pt>
                <c:pt idx="345">
                  <c:v>Mar-10 </c:v>
                </c:pt>
                <c:pt idx="346">
                  <c:v>Mar-10 </c:v>
                </c:pt>
                <c:pt idx="347">
                  <c:v>Mar-10 </c:v>
                </c:pt>
                <c:pt idx="348">
                  <c:v>Mar-10 </c:v>
                </c:pt>
                <c:pt idx="349">
                  <c:v>Mar-10 </c:v>
                </c:pt>
                <c:pt idx="350">
                  <c:v>Mar-10 </c:v>
                </c:pt>
                <c:pt idx="351">
                  <c:v>Apr-10</c:v>
                </c:pt>
                <c:pt idx="352">
                  <c:v>Apr-10</c:v>
                </c:pt>
                <c:pt idx="353">
                  <c:v>Apr-10</c:v>
                </c:pt>
                <c:pt idx="354">
                  <c:v>Apr-10</c:v>
                </c:pt>
                <c:pt idx="355">
                  <c:v>Apr-10</c:v>
                </c:pt>
                <c:pt idx="356">
                  <c:v>Apr-10</c:v>
                </c:pt>
                <c:pt idx="357">
                  <c:v>Apr-10</c:v>
                </c:pt>
                <c:pt idx="358">
                  <c:v>Apr-10</c:v>
                </c:pt>
                <c:pt idx="359">
                  <c:v>Apr-10</c:v>
                </c:pt>
                <c:pt idx="360">
                  <c:v>Apr-10</c:v>
                </c:pt>
                <c:pt idx="361">
                  <c:v>Apr-10</c:v>
                </c:pt>
                <c:pt idx="362">
                  <c:v>Apr-10</c:v>
                </c:pt>
                <c:pt idx="363">
                  <c:v>Apr-10</c:v>
                </c:pt>
                <c:pt idx="364">
                  <c:v>Apr-10</c:v>
                </c:pt>
                <c:pt idx="365">
                  <c:v>Apr-10</c:v>
                </c:pt>
                <c:pt idx="366">
                  <c:v>Apr-10</c:v>
                </c:pt>
                <c:pt idx="367">
                  <c:v>Apr-10</c:v>
                </c:pt>
                <c:pt idx="368">
                  <c:v>Apr-10</c:v>
                </c:pt>
                <c:pt idx="369">
                  <c:v>Apr-10</c:v>
                </c:pt>
                <c:pt idx="370">
                  <c:v>Apr-10</c:v>
                </c:pt>
                <c:pt idx="371">
                  <c:v>May-10 </c:v>
                </c:pt>
                <c:pt idx="372">
                  <c:v>May-10 </c:v>
                </c:pt>
                <c:pt idx="373">
                  <c:v>May-10 </c:v>
                </c:pt>
                <c:pt idx="374">
                  <c:v>May-10 </c:v>
                </c:pt>
                <c:pt idx="375">
                  <c:v>May-10 </c:v>
                </c:pt>
                <c:pt idx="376">
                  <c:v>May-10 </c:v>
                </c:pt>
                <c:pt idx="377">
                  <c:v>May-10 </c:v>
                </c:pt>
                <c:pt idx="378">
                  <c:v>May-10 </c:v>
                </c:pt>
                <c:pt idx="379">
                  <c:v>May-10 </c:v>
                </c:pt>
                <c:pt idx="380">
                  <c:v>May-10 </c:v>
                </c:pt>
                <c:pt idx="381">
                  <c:v>May-10 </c:v>
                </c:pt>
                <c:pt idx="382">
                  <c:v>May-10 </c:v>
                </c:pt>
                <c:pt idx="383">
                  <c:v>May-10 </c:v>
                </c:pt>
                <c:pt idx="384">
                  <c:v>May-10 </c:v>
                </c:pt>
                <c:pt idx="385">
                  <c:v>May-10 </c:v>
                </c:pt>
                <c:pt idx="386">
                  <c:v>May-10 </c:v>
                </c:pt>
                <c:pt idx="387">
                  <c:v>May-10 </c:v>
                </c:pt>
                <c:pt idx="388">
                  <c:v>May-10 </c:v>
                </c:pt>
                <c:pt idx="389">
                  <c:v>May-10 </c:v>
                </c:pt>
                <c:pt idx="390">
                  <c:v>May-10 </c:v>
                </c:pt>
                <c:pt idx="391">
                  <c:v>May-10 </c:v>
                </c:pt>
                <c:pt idx="392">
                  <c:v>Jun-10 </c:v>
                </c:pt>
                <c:pt idx="393">
                  <c:v>Jun-10 </c:v>
                </c:pt>
                <c:pt idx="394">
                  <c:v>Jun-10 </c:v>
                </c:pt>
                <c:pt idx="395">
                  <c:v>Jun-10 </c:v>
                </c:pt>
                <c:pt idx="396">
                  <c:v>Jun-10 </c:v>
                </c:pt>
                <c:pt idx="397">
                  <c:v>Jun-10 </c:v>
                </c:pt>
                <c:pt idx="398">
                  <c:v>Jun-10 </c:v>
                </c:pt>
                <c:pt idx="399">
                  <c:v>Jun-10 </c:v>
                </c:pt>
                <c:pt idx="400">
                  <c:v>Jun-10 </c:v>
                </c:pt>
                <c:pt idx="401">
                  <c:v>Jun-10 </c:v>
                </c:pt>
                <c:pt idx="402">
                  <c:v>Jun-10 </c:v>
                </c:pt>
                <c:pt idx="403">
                  <c:v>Jun-10 </c:v>
                </c:pt>
                <c:pt idx="404">
                  <c:v>Jun-10 </c:v>
                </c:pt>
                <c:pt idx="405">
                  <c:v>Jun-10 </c:v>
                </c:pt>
                <c:pt idx="406">
                  <c:v>Jun-10 </c:v>
                </c:pt>
                <c:pt idx="407">
                  <c:v>Jun-10 </c:v>
                </c:pt>
                <c:pt idx="408">
                  <c:v>Jun-10 </c:v>
                </c:pt>
                <c:pt idx="409">
                  <c:v>Jun-10 </c:v>
                </c:pt>
                <c:pt idx="410">
                  <c:v>Jun-10 </c:v>
                </c:pt>
                <c:pt idx="411">
                  <c:v>Jun-10 </c:v>
                </c:pt>
                <c:pt idx="412">
                  <c:v>Jun-10 </c:v>
                </c:pt>
                <c:pt idx="413">
                  <c:v>Jun-10 </c:v>
                </c:pt>
                <c:pt idx="414">
                  <c:v>Jul-10 A4432</c:v>
                </c:pt>
                <c:pt idx="415">
                  <c:v>Jul-10 2</c:v>
                </c:pt>
                <c:pt idx="416">
                  <c:v>Jul-10 2</c:v>
                </c:pt>
                <c:pt idx="417">
                  <c:v>Jul-10 2</c:v>
                </c:pt>
                <c:pt idx="418">
                  <c:v>Jul-10 2</c:v>
                </c:pt>
                <c:pt idx="419">
                  <c:v>Jul-10 2</c:v>
                </c:pt>
                <c:pt idx="420">
                  <c:v>Jul-10 2</c:v>
                </c:pt>
                <c:pt idx="421">
                  <c:v>Jul-10 2</c:v>
                </c:pt>
                <c:pt idx="422">
                  <c:v>Jul-10 2</c:v>
                </c:pt>
                <c:pt idx="423">
                  <c:v>Jul-10 2</c:v>
                </c:pt>
                <c:pt idx="424">
                  <c:v>Jul-10 2</c:v>
                </c:pt>
                <c:pt idx="425">
                  <c:v>Jul-10 2</c:v>
                </c:pt>
                <c:pt idx="426">
                  <c:v>Jul-10 2</c:v>
                </c:pt>
                <c:pt idx="427">
                  <c:v>Jul-10 2</c:v>
                </c:pt>
                <c:pt idx="428">
                  <c:v>Jul-10 2</c:v>
                </c:pt>
                <c:pt idx="429">
                  <c:v>Jul-10 2</c:v>
                </c:pt>
                <c:pt idx="430">
                  <c:v>Jul-10 2</c:v>
                </c:pt>
                <c:pt idx="431">
                  <c:v>Jul-10 2</c:v>
                </c:pt>
                <c:pt idx="432">
                  <c:v>Jul-10 2</c:v>
                </c:pt>
                <c:pt idx="433">
                  <c:v>Jul-10 2</c:v>
                </c:pt>
                <c:pt idx="434">
                  <c:v>Jul-10 2</c:v>
                </c:pt>
                <c:pt idx="435">
                  <c:v>Jul-10 2</c:v>
                </c:pt>
                <c:pt idx="436">
                  <c:v>Aug-10 </c:v>
                </c:pt>
                <c:pt idx="437">
                  <c:v>Aug-10 </c:v>
                </c:pt>
                <c:pt idx="438">
                  <c:v>Aug-10 </c:v>
                </c:pt>
                <c:pt idx="439">
                  <c:v>Aug-10 </c:v>
                </c:pt>
                <c:pt idx="440">
                  <c:v>Aug-10 </c:v>
                </c:pt>
                <c:pt idx="441">
                  <c:v>Aug-10 </c:v>
                </c:pt>
                <c:pt idx="442">
                  <c:v>Aug-10 </c:v>
                </c:pt>
                <c:pt idx="443">
                  <c:v>Aug-10 </c:v>
                </c:pt>
                <c:pt idx="444">
                  <c:v>Aug-10 </c:v>
                </c:pt>
                <c:pt idx="445">
                  <c:v>Aug-10 </c:v>
                </c:pt>
                <c:pt idx="446">
                  <c:v>Aug-10 </c:v>
                </c:pt>
                <c:pt idx="447">
                  <c:v>Aug-10 </c:v>
                </c:pt>
                <c:pt idx="448">
                  <c:v>Aug-10 </c:v>
                </c:pt>
                <c:pt idx="449">
                  <c:v>Aug-10 </c:v>
                </c:pt>
                <c:pt idx="450">
                  <c:v>Aug-10 </c:v>
                </c:pt>
                <c:pt idx="451">
                  <c:v>Aug-10 </c:v>
                </c:pt>
                <c:pt idx="452">
                  <c:v>Aug-10 </c:v>
                </c:pt>
                <c:pt idx="453">
                  <c:v>Aug-10 </c:v>
                </c:pt>
                <c:pt idx="454">
                  <c:v>Aug-10 </c:v>
                </c:pt>
                <c:pt idx="455">
                  <c:v>Aug-10 </c:v>
                </c:pt>
                <c:pt idx="456">
                  <c:v>Aug-10 </c:v>
                </c:pt>
                <c:pt idx="457">
                  <c:v>Aug-10 </c:v>
                </c:pt>
                <c:pt idx="458">
                  <c:v>Sep-10</c:v>
                </c:pt>
                <c:pt idx="459">
                  <c:v>Sep-10</c:v>
                </c:pt>
                <c:pt idx="460">
                  <c:v>Sep-10</c:v>
                </c:pt>
                <c:pt idx="461">
                  <c:v>Sep-10</c:v>
                </c:pt>
                <c:pt idx="462">
                  <c:v>Sep-10</c:v>
                </c:pt>
                <c:pt idx="463">
                  <c:v>Sep-10</c:v>
                </c:pt>
                <c:pt idx="464">
                  <c:v>Sep-10</c:v>
                </c:pt>
                <c:pt idx="465">
                  <c:v>Sep-10</c:v>
                </c:pt>
                <c:pt idx="466">
                  <c:v>Sep-10</c:v>
                </c:pt>
                <c:pt idx="467">
                  <c:v>Sep-10</c:v>
                </c:pt>
                <c:pt idx="468">
                  <c:v>Sep-10</c:v>
                </c:pt>
                <c:pt idx="469">
                  <c:v>Sep-10</c:v>
                </c:pt>
                <c:pt idx="470">
                  <c:v>Sep-10</c:v>
                </c:pt>
                <c:pt idx="471">
                  <c:v>Sep-10</c:v>
                </c:pt>
                <c:pt idx="472">
                  <c:v>Sep-10</c:v>
                </c:pt>
                <c:pt idx="473">
                  <c:v>Sep-10</c:v>
                </c:pt>
                <c:pt idx="474">
                  <c:v>Sep-10</c:v>
                </c:pt>
                <c:pt idx="475">
                  <c:v>Sep-10</c:v>
                </c:pt>
                <c:pt idx="476">
                  <c:v>Sep-10</c:v>
                </c:pt>
                <c:pt idx="477">
                  <c:v>Sep-10</c:v>
                </c:pt>
                <c:pt idx="478">
                  <c:v>Sep-10</c:v>
                </c:pt>
                <c:pt idx="479">
                  <c:v>Sep-10</c:v>
                </c:pt>
                <c:pt idx="480">
                  <c:v>Oct-10</c:v>
                </c:pt>
                <c:pt idx="481">
                  <c:v>Oct-10</c:v>
                </c:pt>
                <c:pt idx="482">
                  <c:v>Oct-10</c:v>
                </c:pt>
                <c:pt idx="483">
                  <c:v>Oct-10</c:v>
                </c:pt>
                <c:pt idx="484">
                  <c:v>Oct-10</c:v>
                </c:pt>
                <c:pt idx="485">
                  <c:v>Oct-10</c:v>
                </c:pt>
                <c:pt idx="486">
                  <c:v>Oct-10</c:v>
                </c:pt>
                <c:pt idx="487">
                  <c:v>Oct-10</c:v>
                </c:pt>
                <c:pt idx="488">
                  <c:v>Oct-10</c:v>
                </c:pt>
                <c:pt idx="489">
                  <c:v>Oct-10</c:v>
                </c:pt>
                <c:pt idx="490">
                  <c:v>Oct-10</c:v>
                </c:pt>
                <c:pt idx="491">
                  <c:v>Oct-10</c:v>
                </c:pt>
                <c:pt idx="492">
                  <c:v>Oct-10</c:v>
                </c:pt>
                <c:pt idx="493">
                  <c:v>Oct-10</c:v>
                </c:pt>
                <c:pt idx="494">
                  <c:v>Oct-10</c:v>
                </c:pt>
                <c:pt idx="495">
                  <c:v>Oct-10</c:v>
                </c:pt>
                <c:pt idx="496">
                  <c:v>Oct-10</c:v>
                </c:pt>
                <c:pt idx="497">
                  <c:v>Oct-10</c:v>
                </c:pt>
                <c:pt idx="498">
                  <c:v>Oct-10</c:v>
                </c:pt>
                <c:pt idx="499">
                  <c:v>Oct-10</c:v>
                </c:pt>
                <c:pt idx="500">
                  <c:v>Oct-10</c:v>
                </c:pt>
                <c:pt idx="501">
                  <c:v>Nov-10 </c:v>
                </c:pt>
                <c:pt idx="502">
                  <c:v>Nov-10 </c:v>
                </c:pt>
                <c:pt idx="503">
                  <c:v>Nov-10 </c:v>
                </c:pt>
                <c:pt idx="504">
                  <c:v>Nov-10 </c:v>
                </c:pt>
                <c:pt idx="505">
                  <c:v>Nov-10 </c:v>
                </c:pt>
                <c:pt idx="506">
                  <c:v>Nov-10 </c:v>
                </c:pt>
                <c:pt idx="507">
                  <c:v>Nov-10 </c:v>
                </c:pt>
                <c:pt idx="508">
                  <c:v>Nov-10 </c:v>
                </c:pt>
                <c:pt idx="509">
                  <c:v>Nov-10 </c:v>
                </c:pt>
                <c:pt idx="510">
                  <c:v>Nov-10 </c:v>
                </c:pt>
                <c:pt idx="511">
                  <c:v>Nov-10 </c:v>
                </c:pt>
                <c:pt idx="512">
                  <c:v>Nov-10 </c:v>
                </c:pt>
                <c:pt idx="513">
                  <c:v>Nov-10 </c:v>
                </c:pt>
                <c:pt idx="514">
                  <c:v>Nov-10 </c:v>
                </c:pt>
                <c:pt idx="515">
                  <c:v>Nov-10 </c:v>
                </c:pt>
                <c:pt idx="516">
                  <c:v>Nov-10 </c:v>
                </c:pt>
                <c:pt idx="517">
                  <c:v>Nov-10 </c:v>
                </c:pt>
                <c:pt idx="518">
                  <c:v>Nov-10 </c:v>
                </c:pt>
                <c:pt idx="519">
                  <c:v>Nov-10 </c:v>
                </c:pt>
                <c:pt idx="520">
                  <c:v>Nov-10 </c:v>
                </c:pt>
                <c:pt idx="521">
                  <c:v>Nov-10 </c:v>
                </c:pt>
                <c:pt idx="522">
                  <c:v>Nov-10 </c:v>
                </c:pt>
                <c:pt idx="523">
                  <c:v>Dec-10</c:v>
                </c:pt>
                <c:pt idx="524">
                  <c:v>Dec-10</c:v>
                </c:pt>
                <c:pt idx="525">
                  <c:v>Dec-10</c:v>
                </c:pt>
                <c:pt idx="526">
                  <c:v>Dec-10</c:v>
                </c:pt>
                <c:pt idx="527">
                  <c:v>Dec-10</c:v>
                </c:pt>
                <c:pt idx="528">
                  <c:v>Dec-10</c:v>
                </c:pt>
                <c:pt idx="529">
                  <c:v>Dec-10</c:v>
                </c:pt>
                <c:pt idx="530">
                  <c:v>Dec-10</c:v>
                </c:pt>
                <c:pt idx="531">
                  <c:v>Dec-10</c:v>
                </c:pt>
                <c:pt idx="532">
                  <c:v>Dec-10</c:v>
                </c:pt>
                <c:pt idx="533">
                  <c:v>Dec-10</c:v>
                </c:pt>
                <c:pt idx="534">
                  <c:v>Dec-10</c:v>
                </c:pt>
                <c:pt idx="535">
                  <c:v>Dec-10</c:v>
                </c:pt>
                <c:pt idx="536">
                  <c:v>Dec-10</c:v>
                </c:pt>
                <c:pt idx="537">
                  <c:v>Dec-10</c:v>
                </c:pt>
                <c:pt idx="538">
                  <c:v>Dec-10</c:v>
                </c:pt>
                <c:pt idx="539">
                  <c:v>Dec-10</c:v>
                </c:pt>
                <c:pt idx="540">
                  <c:v>Dec-10</c:v>
                </c:pt>
                <c:pt idx="541">
                  <c:v>Dec-10</c:v>
                </c:pt>
                <c:pt idx="542">
                  <c:v>Dec-10</c:v>
                </c:pt>
                <c:pt idx="543">
                  <c:v>Dec-10</c:v>
                </c:pt>
                <c:pt idx="544">
                  <c:v>Dec-10</c:v>
                </c:pt>
                <c:pt idx="545">
                  <c:v>Dec-10</c:v>
                </c:pt>
                <c:pt idx="546">
                  <c:v>Jan-11 </c:v>
                </c:pt>
                <c:pt idx="547">
                  <c:v>Jan-11 </c:v>
                </c:pt>
                <c:pt idx="548">
                  <c:v>Jan-11 </c:v>
                </c:pt>
                <c:pt idx="549">
                  <c:v>Jan-11 </c:v>
                </c:pt>
                <c:pt idx="550">
                  <c:v>Jan-11 </c:v>
                </c:pt>
                <c:pt idx="551">
                  <c:v>Jan-11 </c:v>
                </c:pt>
                <c:pt idx="552">
                  <c:v>Jan-11 </c:v>
                </c:pt>
                <c:pt idx="553">
                  <c:v>Jan-11 </c:v>
                </c:pt>
                <c:pt idx="554">
                  <c:v>Jan-11 </c:v>
                </c:pt>
                <c:pt idx="555">
                  <c:v>Jan-11 </c:v>
                </c:pt>
                <c:pt idx="556">
                  <c:v>Jan-11 </c:v>
                </c:pt>
                <c:pt idx="557">
                  <c:v>Jan-11 </c:v>
                </c:pt>
                <c:pt idx="558">
                  <c:v>Jan-11 </c:v>
                </c:pt>
                <c:pt idx="559">
                  <c:v>Jan-11 </c:v>
                </c:pt>
                <c:pt idx="560">
                  <c:v>Jan-11 </c:v>
                </c:pt>
                <c:pt idx="561">
                  <c:v>Jan-11 </c:v>
                </c:pt>
                <c:pt idx="562">
                  <c:v>Jan-11 </c:v>
                </c:pt>
                <c:pt idx="563">
                  <c:v>Jan-11 </c:v>
                </c:pt>
                <c:pt idx="564">
                  <c:v>Jan-11 </c:v>
                </c:pt>
                <c:pt idx="565">
                  <c:v>Jan-11 </c:v>
                </c:pt>
                <c:pt idx="566">
                  <c:v>Jan-11 </c:v>
                </c:pt>
                <c:pt idx="567">
                  <c:v>Feb-11 </c:v>
                </c:pt>
                <c:pt idx="568">
                  <c:v>Feb-11 </c:v>
                </c:pt>
                <c:pt idx="569">
                  <c:v>Feb-11 </c:v>
                </c:pt>
                <c:pt idx="570">
                  <c:v>Feb-11 </c:v>
                </c:pt>
                <c:pt idx="571">
                  <c:v>Feb-11 </c:v>
                </c:pt>
                <c:pt idx="572">
                  <c:v>Feb-11 </c:v>
                </c:pt>
                <c:pt idx="573">
                  <c:v>Feb-11 </c:v>
                </c:pt>
                <c:pt idx="574">
                  <c:v>Feb-11 </c:v>
                </c:pt>
                <c:pt idx="575">
                  <c:v>Feb-11 </c:v>
                </c:pt>
                <c:pt idx="576">
                  <c:v>Feb-11 </c:v>
                </c:pt>
                <c:pt idx="577">
                  <c:v>Feb-11 </c:v>
                </c:pt>
                <c:pt idx="578">
                  <c:v>Feb-11 </c:v>
                </c:pt>
                <c:pt idx="579">
                  <c:v>Feb-11 </c:v>
                </c:pt>
                <c:pt idx="580">
                  <c:v>Feb-11 </c:v>
                </c:pt>
                <c:pt idx="581">
                  <c:v>Feb-11 </c:v>
                </c:pt>
                <c:pt idx="582">
                  <c:v>Feb-11 </c:v>
                </c:pt>
                <c:pt idx="583">
                  <c:v>Feb-11 </c:v>
                </c:pt>
                <c:pt idx="584">
                  <c:v>Feb-11 </c:v>
                </c:pt>
                <c:pt idx="585">
                  <c:v>Feb-11 </c:v>
                </c:pt>
                <c:pt idx="586">
                  <c:v>Feb-11 </c:v>
                </c:pt>
                <c:pt idx="587">
                  <c:v>Mar-11 </c:v>
                </c:pt>
                <c:pt idx="588">
                  <c:v>Mar-11 </c:v>
                </c:pt>
                <c:pt idx="589">
                  <c:v>Mar-11 </c:v>
                </c:pt>
                <c:pt idx="590">
                  <c:v>Mar-11 </c:v>
                </c:pt>
                <c:pt idx="591">
                  <c:v>Mar-11 </c:v>
                </c:pt>
                <c:pt idx="592">
                  <c:v>Mar-11 </c:v>
                </c:pt>
                <c:pt idx="593">
                  <c:v>Mar-11 </c:v>
                </c:pt>
                <c:pt idx="594">
                  <c:v>Mar-11 </c:v>
                </c:pt>
                <c:pt idx="595">
                  <c:v>Mar-11 </c:v>
                </c:pt>
                <c:pt idx="596">
                  <c:v>Mar-11 </c:v>
                </c:pt>
                <c:pt idx="597">
                  <c:v>Mar-11 </c:v>
                </c:pt>
                <c:pt idx="598">
                  <c:v>Mar-11 </c:v>
                </c:pt>
                <c:pt idx="599">
                  <c:v>Mar-11 </c:v>
                </c:pt>
                <c:pt idx="600">
                  <c:v>Mar-11 </c:v>
                </c:pt>
                <c:pt idx="601">
                  <c:v>Mar-11 </c:v>
                </c:pt>
                <c:pt idx="602">
                  <c:v>Mar-11 </c:v>
                </c:pt>
                <c:pt idx="603">
                  <c:v>Mar-11 </c:v>
                </c:pt>
                <c:pt idx="604">
                  <c:v>Mar-11 </c:v>
                </c:pt>
                <c:pt idx="605">
                  <c:v>Mar-11 </c:v>
                </c:pt>
                <c:pt idx="606">
                  <c:v>Mar-11 </c:v>
                </c:pt>
                <c:pt idx="607">
                  <c:v>Mar-11 </c:v>
                </c:pt>
                <c:pt idx="608">
                  <c:v>Mar-11 </c:v>
                </c:pt>
                <c:pt idx="609">
                  <c:v>Mar-11 </c:v>
                </c:pt>
                <c:pt idx="610">
                  <c:v>Apr-11</c:v>
                </c:pt>
                <c:pt idx="611">
                  <c:v>Apr-11</c:v>
                </c:pt>
                <c:pt idx="612">
                  <c:v>Apr-11</c:v>
                </c:pt>
                <c:pt idx="613">
                  <c:v>Apr-11</c:v>
                </c:pt>
                <c:pt idx="614">
                  <c:v>Apr-11</c:v>
                </c:pt>
                <c:pt idx="615">
                  <c:v>Apr-11</c:v>
                </c:pt>
                <c:pt idx="616">
                  <c:v>Apr-11</c:v>
                </c:pt>
                <c:pt idx="617">
                  <c:v>Apr-11</c:v>
                </c:pt>
                <c:pt idx="618">
                  <c:v>Apr-11</c:v>
                </c:pt>
                <c:pt idx="619">
                  <c:v>Apr-11</c:v>
                </c:pt>
                <c:pt idx="620">
                  <c:v>Apr-11</c:v>
                </c:pt>
                <c:pt idx="621">
                  <c:v>Apr-11</c:v>
                </c:pt>
                <c:pt idx="622">
                  <c:v>Apr-11</c:v>
                </c:pt>
                <c:pt idx="623">
                  <c:v>Apr-11</c:v>
                </c:pt>
                <c:pt idx="624">
                  <c:v>Apr-11</c:v>
                </c:pt>
                <c:pt idx="625">
                  <c:v>Apr-11</c:v>
                </c:pt>
                <c:pt idx="626">
                  <c:v>Apr-11</c:v>
                </c:pt>
                <c:pt idx="627">
                  <c:v>Apr-11</c:v>
                </c:pt>
                <c:pt idx="628">
                  <c:v>Apr-11</c:v>
                </c:pt>
                <c:pt idx="629">
                  <c:v>May-11 </c:v>
                </c:pt>
                <c:pt idx="630">
                  <c:v>May-11 </c:v>
                </c:pt>
                <c:pt idx="631">
                  <c:v>May-11 </c:v>
                </c:pt>
                <c:pt idx="632">
                  <c:v>May-11 </c:v>
                </c:pt>
                <c:pt idx="633">
                  <c:v>May-11 </c:v>
                </c:pt>
                <c:pt idx="634">
                  <c:v>May-11 </c:v>
                </c:pt>
                <c:pt idx="635">
                  <c:v>May-11 </c:v>
                </c:pt>
                <c:pt idx="636">
                  <c:v>May-11 </c:v>
                </c:pt>
                <c:pt idx="637">
                  <c:v>May-11 </c:v>
                </c:pt>
                <c:pt idx="638">
                  <c:v>May-11 </c:v>
                </c:pt>
                <c:pt idx="639">
                  <c:v>May-11 </c:v>
                </c:pt>
                <c:pt idx="640">
                  <c:v>May-11 </c:v>
                </c:pt>
                <c:pt idx="641">
                  <c:v>May-11 </c:v>
                </c:pt>
                <c:pt idx="642">
                  <c:v>May-11 </c:v>
                </c:pt>
                <c:pt idx="643">
                  <c:v>May-11 </c:v>
                </c:pt>
                <c:pt idx="644">
                  <c:v>May-11 </c:v>
                </c:pt>
                <c:pt idx="645">
                  <c:v>May-11 </c:v>
                </c:pt>
                <c:pt idx="646">
                  <c:v>May-11 </c:v>
                </c:pt>
                <c:pt idx="647">
                  <c:v>May-11 </c:v>
                </c:pt>
                <c:pt idx="648">
                  <c:v>May-11 </c:v>
                </c:pt>
                <c:pt idx="649">
                  <c:v>May-11 </c:v>
                </c:pt>
                <c:pt idx="650">
                  <c:v>May-11 </c:v>
                </c:pt>
                <c:pt idx="651">
                  <c:v>Jun-11 </c:v>
                </c:pt>
                <c:pt idx="652">
                  <c:v>Jun-11 </c:v>
                </c:pt>
                <c:pt idx="653">
                  <c:v>Jun-11 </c:v>
                </c:pt>
                <c:pt idx="654">
                  <c:v>Jun-11 </c:v>
                </c:pt>
                <c:pt idx="655">
                  <c:v>Jun-11 </c:v>
                </c:pt>
                <c:pt idx="656">
                  <c:v>Jun-11 </c:v>
                </c:pt>
                <c:pt idx="657">
                  <c:v>Jun-11 </c:v>
                </c:pt>
                <c:pt idx="658">
                  <c:v>Jun-11 </c:v>
                </c:pt>
                <c:pt idx="659">
                  <c:v>Jun-11 </c:v>
                </c:pt>
                <c:pt idx="660">
                  <c:v>Jun-11 </c:v>
                </c:pt>
                <c:pt idx="661">
                  <c:v>Jun-11 </c:v>
                </c:pt>
                <c:pt idx="662">
                  <c:v>Jun-11 </c:v>
                </c:pt>
                <c:pt idx="663">
                  <c:v>Jun-11 </c:v>
                </c:pt>
                <c:pt idx="664">
                  <c:v>Jun-11 </c:v>
                </c:pt>
                <c:pt idx="665">
                  <c:v>Jun-11 </c:v>
                </c:pt>
                <c:pt idx="666">
                  <c:v>Jun-11 </c:v>
                </c:pt>
                <c:pt idx="667">
                  <c:v>Jun-11 </c:v>
                </c:pt>
                <c:pt idx="668">
                  <c:v>Jun-11 </c:v>
                </c:pt>
                <c:pt idx="669">
                  <c:v>Jun-11 </c:v>
                </c:pt>
                <c:pt idx="670">
                  <c:v>Jun-11 </c:v>
                </c:pt>
                <c:pt idx="671">
                  <c:v>Jun-11 </c:v>
                </c:pt>
                <c:pt idx="672">
                  <c:v>Jun-11 </c:v>
                </c:pt>
                <c:pt idx="673">
                  <c:v>Jul-11</c:v>
                </c:pt>
                <c:pt idx="674">
                  <c:v>Jul-11</c:v>
                </c:pt>
                <c:pt idx="675">
                  <c:v>Jul-11</c:v>
                </c:pt>
                <c:pt idx="676">
                  <c:v>Jul-11</c:v>
                </c:pt>
                <c:pt idx="677">
                  <c:v>Jul-11</c:v>
                </c:pt>
                <c:pt idx="678">
                  <c:v>Jul-11</c:v>
                </c:pt>
                <c:pt idx="679">
                  <c:v>Jul-11</c:v>
                </c:pt>
                <c:pt idx="680">
                  <c:v>Jul-11</c:v>
                </c:pt>
                <c:pt idx="681">
                  <c:v>Jul-11</c:v>
                </c:pt>
                <c:pt idx="682">
                  <c:v>Jul-11</c:v>
                </c:pt>
                <c:pt idx="683">
                  <c:v>Jul-11</c:v>
                </c:pt>
                <c:pt idx="684">
                  <c:v>Jul-11</c:v>
                </c:pt>
                <c:pt idx="685">
                  <c:v>Jul-11</c:v>
                </c:pt>
                <c:pt idx="686">
                  <c:v>Jul-11</c:v>
                </c:pt>
                <c:pt idx="687">
                  <c:v>Jul-11</c:v>
                </c:pt>
                <c:pt idx="688">
                  <c:v>Jul-11</c:v>
                </c:pt>
                <c:pt idx="689">
                  <c:v>Jul-11</c:v>
                </c:pt>
                <c:pt idx="690">
                  <c:v>Jul-11</c:v>
                </c:pt>
                <c:pt idx="691">
                  <c:v>Jul-11</c:v>
                </c:pt>
                <c:pt idx="692">
                  <c:v>Jul-11</c:v>
                </c:pt>
                <c:pt idx="693">
                  <c:v>Jul-11</c:v>
                </c:pt>
                <c:pt idx="694">
                  <c:v>Aug-11 </c:v>
                </c:pt>
                <c:pt idx="695">
                  <c:v>Aug-11 </c:v>
                </c:pt>
                <c:pt idx="696">
                  <c:v>Aug-11 </c:v>
                </c:pt>
                <c:pt idx="697">
                  <c:v>Aug-11 </c:v>
                </c:pt>
                <c:pt idx="698">
                  <c:v>Aug-11 </c:v>
                </c:pt>
                <c:pt idx="699">
                  <c:v>Aug-11 </c:v>
                </c:pt>
                <c:pt idx="700">
                  <c:v>Aug-11 </c:v>
                </c:pt>
                <c:pt idx="701">
                  <c:v>Aug-11 </c:v>
                </c:pt>
                <c:pt idx="702">
                  <c:v>Aug-11 </c:v>
                </c:pt>
                <c:pt idx="703">
                  <c:v>Aug-11 </c:v>
                </c:pt>
                <c:pt idx="704">
                  <c:v>Aug-11 </c:v>
                </c:pt>
                <c:pt idx="705">
                  <c:v>Aug-11 </c:v>
                </c:pt>
                <c:pt idx="706">
                  <c:v>Aug-11 </c:v>
                </c:pt>
                <c:pt idx="707">
                  <c:v>Aug-11 </c:v>
                </c:pt>
                <c:pt idx="708">
                  <c:v>Aug-11 </c:v>
                </c:pt>
                <c:pt idx="709">
                  <c:v>Aug-11 </c:v>
                </c:pt>
                <c:pt idx="710">
                  <c:v>Aug-11 </c:v>
                </c:pt>
                <c:pt idx="711">
                  <c:v>Aug-11 </c:v>
                </c:pt>
                <c:pt idx="712">
                  <c:v>Aug-11 </c:v>
                </c:pt>
                <c:pt idx="713">
                  <c:v>Aug-11 </c:v>
                </c:pt>
                <c:pt idx="714">
                  <c:v>Aug-11 </c:v>
                </c:pt>
                <c:pt idx="715">
                  <c:v>Aug-11 </c:v>
                </c:pt>
                <c:pt idx="716">
                  <c:v>Aug-11 </c:v>
                </c:pt>
                <c:pt idx="717">
                  <c:v>Sep-11</c:v>
                </c:pt>
                <c:pt idx="718">
                  <c:v>Sep-11</c:v>
                </c:pt>
                <c:pt idx="719">
                  <c:v>Sep-11</c:v>
                </c:pt>
                <c:pt idx="720">
                  <c:v>Sep-11</c:v>
                </c:pt>
                <c:pt idx="721">
                  <c:v>Sep-11</c:v>
                </c:pt>
                <c:pt idx="722">
                  <c:v>Sep-11</c:v>
                </c:pt>
                <c:pt idx="723">
                  <c:v>Sep-11</c:v>
                </c:pt>
                <c:pt idx="724">
                  <c:v>Sep-11</c:v>
                </c:pt>
                <c:pt idx="725">
                  <c:v>Sep-11</c:v>
                </c:pt>
                <c:pt idx="726">
                  <c:v>Sep-11</c:v>
                </c:pt>
                <c:pt idx="727">
                  <c:v>Sep-11</c:v>
                </c:pt>
                <c:pt idx="728">
                  <c:v>Sep-11</c:v>
                </c:pt>
                <c:pt idx="729">
                  <c:v>Sep-11</c:v>
                </c:pt>
                <c:pt idx="730">
                  <c:v>Sep-11</c:v>
                </c:pt>
                <c:pt idx="731">
                  <c:v>Sep-11</c:v>
                </c:pt>
                <c:pt idx="732">
                  <c:v>Sep-11</c:v>
                </c:pt>
                <c:pt idx="733">
                  <c:v>Sep-11</c:v>
                </c:pt>
                <c:pt idx="734">
                  <c:v>Sep-11</c:v>
                </c:pt>
                <c:pt idx="735">
                  <c:v>Sep-11</c:v>
                </c:pt>
                <c:pt idx="736">
                  <c:v>Sep-11</c:v>
                </c:pt>
                <c:pt idx="737">
                  <c:v>Sep-11</c:v>
                </c:pt>
                <c:pt idx="738">
                  <c:v>Sep-11</c:v>
                </c:pt>
                <c:pt idx="739">
                  <c:v>Oct-11</c:v>
                </c:pt>
                <c:pt idx="740">
                  <c:v>Oct-11</c:v>
                </c:pt>
                <c:pt idx="741">
                  <c:v>Oct-11</c:v>
                </c:pt>
                <c:pt idx="742">
                  <c:v>Oct-11</c:v>
                </c:pt>
                <c:pt idx="743">
                  <c:v>Oct-11</c:v>
                </c:pt>
                <c:pt idx="744">
                  <c:v>Oct-11</c:v>
                </c:pt>
                <c:pt idx="745">
                  <c:v>Oct-11</c:v>
                </c:pt>
                <c:pt idx="746">
                  <c:v>Oct-11</c:v>
                </c:pt>
                <c:pt idx="747">
                  <c:v>Oct-11</c:v>
                </c:pt>
                <c:pt idx="748">
                  <c:v>Oct-11</c:v>
                </c:pt>
                <c:pt idx="749">
                  <c:v>Oct-11</c:v>
                </c:pt>
                <c:pt idx="750">
                  <c:v>Oct-11</c:v>
                </c:pt>
                <c:pt idx="751">
                  <c:v>Oct-11</c:v>
                </c:pt>
                <c:pt idx="752">
                  <c:v>Oct-11</c:v>
                </c:pt>
                <c:pt idx="753">
                  <c:v>Oct-11</c:v>
                </c:pt>
                <c:pt idx="754">
                  <c:v>Oct-11</c:v>
                </c:pt>
                <c:pt idx="755">
                  <c:v>Oct-11</c:v>
                </c:pt>
                <c:pt idx="756">
                  <c:v>Oct-11</c:v>
                </c:pt>
                <c:pt idx="757">
                  <c:v>Oct-11</c:v>
                </c:pt>
                <c:pt idx="758">
                  <c:v>Oct-11</c:v>
                </c:pt>
                <c:pt idx="759">
                  <c:v>Oct-11</c:v>
                </c:pt>
                <c:pt idx="760">
                  <c:v>Nov-11 </c:v>
                </c:pt>
                <c:pt idx="761">
                  <c:v>Nov-11 </c:v>
                </c:pt>
                <c:pt idx="762">
                  <c:v>Nov-11 </c:v>
                </c:pt>
                <c:pt idx="763">
                  <c:v>Nov-11 </c:v>
                </c:pt>
                <c:pt idx="764">
                  <c:v>Nov-11 </c:v>
                </c:pt>
                <c:pt idx="765">
                  <c:v>Nov-11 </c:v>
                </c:pt>
                <c:pt idx="766">
                  <c:v>Nov-11 </c:v>
                </c:pt>
                <c:pt idx="767">
                  <c:v>Nov-11 </c:v>
                </c:pt>
                <c:pt idx="768">
                  <c:v>Nov-11 </c:v>
                </c:pt>
                <c:pt idx="769">
                  <c:v>Nov-11 </c:v>
                </c:pt>
                <c:pt idx="770">
                  <c:v>Nov-11 </c:v>
                </c:pt>
                <c:pt idx="771">
                  <c:v>Nov-11 </c:v>
                </c:pt>
                <c:pt idx="772">
                  <c:v>Nov-11 </c:v>
                </c:pt>
                <c:pt idx="773">
                  <c:v>Nov-11 </c:v>
                </c:pt>
                <c:pt idx="774">
                  <c:v>Nov-11 </c:v>
                </c:pt>
                <c:pt idx="775">
                  <c:v>Nov-11 </c:v>
                </c:pt>
                <c:pt idx="776">
                  <c:v>Nov-11 </c:v>
                </c:pt>
                <c:pt idx="777">
                  <c:v>Nov-11 </c:v>
                </c:pt>
                <c:pt idx="778">
                  <c:v>Nov-11 </c:v>
                </c:pt>
                <c:pt idx="779">
                  <c:v>Nov-11 </c:v>
                </c:pt>
                <c:pt idx="780">
                  <c:v>Nov-11 </c:v>
                </c:pt>
                <c:pt idx="781">
                  <c:v>Nov-11 </c:v>
                </c:pt>
                <c:pt idx="782">
                  <c:v>Dec-11</c:v>
                </c:pt>
                <c:pt idx="783">
                  <c:v>Dec-11</c:v>
                </c:pt>
                <c:pt idx="784">
                  <c:v>Dec-11</c:v>
                </c:pt>
                <c:pt idx="785">
                  <c:v>Dec-11</c:v>
                </c:pt>
                <c:pt idx="786">
                  <c:v>Dec-11</c:v>
                </c:pt>
                <c:pt idx="787">
                  <c:v>Dec-11</c:v>
                </c:pt>
                <c:pt idx="788">
                  <c:v>Dec-11</c:v>
                </c:pt>
                <c:pt idx="789">
                  <c:v>Dec-11</c:v>
                </c:pt>
                <c:pt idx="790">
                  <c:v>Dec-11</c:v>
                </c:pt>
                <c:pt idx="791">
                  <c:v>Dec-11</c:v>
                </c:pt>
                <c:pt idx="792">
                  <c:v>Dec-11</c:v>
                </c:pt>
                <c:pt idx="793">
                  <c:v>Dec-11</c:v>
                </c:pt>
                <c:pt idx="794">
                  <c:v>Dec-11</c:v>
                </c:pt>
                <c:pt idx="795">
                  <c:v>Dec-11</c:v>
                </c:pt>
                <c:pt idx="796">
                  <c:v>Dec-11</c:v>
                </c:pt>
                <c:pt idx="797">
                  <c:v>Dec-11</c:v>
                </c:pt>
                <c:pt idx="798">
                  <c:v>Dec-11</c:v>
                </c:pt>
                <c:pt idx="799">
                  <c:v>Dec-11</c:v>
                </c:pt>
                <c:pt idx="800">
                  <c:v>Dec-11</c:v>
                </c:pt>
                <c:pt idx="801">
                  <c:v>Dec-11</c:v>
                </c:pt>
                <c:pt idx="802">
                  <c:v>Dec-11</c:v>
                </c:pt>
                <c:pt idx="803">
                  <c:v>Jan-12 </c:v>
                </c:pt>
                <c:pt idx="804">
                  <c:v>Jan-12 </c:v>
                </c:pt>
                <c:pt idx="805">
                  <c:v>Jan-12 </c:v>
                </c:pt>
                <c:pt idx="806">
                  <c:v>Jan-12 </c:v>
                </c:pt>
                <c:pt idx="807">
                  <c:v>Jan-12 </c:v>
                </c:pt>
                <c:pt idx="808">
                  <c:v>Jan-12 </c:v>
                </c:pt>
                <c:pt idx="809">
                  <c:v>Jan-12 </c:v>
                </c:pt>
                <c:pt idx="810">
                  <c:v>Jan-12 </c:v>
                </c:pt>
                <c:pt idx="811">
                  <c:v>Jan-12 </c:v>
                </c:pt>
                <c:pt idx="812">
                  <c:v>Jan-12 </c:v>
                </c:pt>
                <c:pt idx="813">
                  <c:v>Jan-12 </c:v>
                </c:pt>
                <c:pt idx="814">
                  <c:v>Jan-12 </c:v>
                </c:pt>
                <c:pt idx="815">
                  <c:v>Jan-12 </c:v>
                </c:pt>
                <c:pt idx="816">
                  <c:v>Jan-12 </c:v>
                </c:pt>
                <c:pt idx="817">
                  <c:v>Jan-12 </c:v>
                </c:pt>
                <c:pt idx="818">
                  <c:v>Jan-12 </c:v>
                </c:pt>
                <c:pt idx="819">
                  <c:v>Jan-12 </c:v>
                </c:pt>
                <c:pt idx="820">
                  <c:v>Jan-12 </c:v>
                </c:pt>
                <c:pt idx="821">
                  <c:v>Jan-12 </c:v>
                </c:pt>
                <c:pt idx="822">
                  <c:v>Jan-12 </c:v>
                </c:pt>
                <c:pt idx="823">
                  <c:v>Jan-12 </c:v>
                </c:pt>
                <c:pt idx="824">
                  <c:v>Jan-12 </c:v>
                </c:pt>
                <c:pt idx="825">
                  <c:v>Feb-12 </c:v>
                </c:pt>
                <c:pt idx="826">
                  <c:v>Feb-12 </c:v>
                </c:pt>
                <c:pt idx="827">
                  <c:v>Feb-12 </c:v>
                </c:pt>
                <c:pt idx="828">
                  <c:v>Feb-12 </c:v>
                </c:pt>
                <c:pt idx="829">
                  <c:v>Feb-12 </c:v>
                </c:pt>
                <c:pt idx="830">
                  <c:v>Feb-12 </c:v>
                </c:pt>
                <c:pt idx="831">
                  <c:v>Feb-12 </c:v>
                </c:pt>
                <c:pt idx="832">
                  <c:v>Feb-12 </c:v>
                </c:pt>
                <c:pt idx="833">
                  <c:v>Feb-12 </c:v>
                </c:pt>
                <c:pt idx="834">
                  <c:v>Feb-12 </c:v>
                </c:pt>
                <c:pt idx="835">
                  <c:v>Feb-12 </c:v>
                </c:pt>
                <c:pt idx="836">
                  <c:v>Feb-12 </c:v>
                </c:pt>
                <c:pt idx="837">
                  <c:v>Feb-12 </c:v>
                </c:pt>
                <c:pt idx="838">
                  <c:v>Feb-12 </c:v>
                </c:pt>
                <c:pt idx="839">
                  <c:v>Feb-12 </c:v>
                </c:pt>
                <c:pt idx="840">
                  <c:v>Feb-12 </c:v>
                </c:pt>
                <c:pt idx="841">
                  <c:v>Feb-12 </c:v>
                </c:pt>
                <c:pt idx="842">
                  <c:v>Feb-12 </c:v>
                </c:pt>
                <c:pt idx="843">
                  <c:v>Feb-12 </c:v>
                </c:pt>
                <c:pt idx="844">
                  <c:v>Feb-12 </c:v>
                </c:pt>
                <c:pt idx="845">
                  <c:v>Feb-12 </c:v>
                </c:pt>
                <c:pt idx="846">
                  <c:v>Mar-12 </c:v>
                </c:pt>
                <c:pt idx="847">
                  <c:v>Mar-12 </c:v>
                </c:pt>
                <c:pt idx="848">
                  <c:v>Mar-12 </c:v>
                </c:pt>
                <c:pt idx="849">
                  <c:v>Mar-12 </c:v>
                </c:pt>
                <c:pt idx="850">
                  <c:v>Mar-12 </c:v>
                </c:pt>
                <c:pt idx="851">
                  <c:v>Mar-12 </c:v>
                </c:pt>
                <c:pt idx="852">
                  <c:v>Mar-12 </c:v>
                </c:pt>
                <c:pt idx="853">
                  <c:v>Mar-12 </c:v>
                </c:pt>
                <c:pt idx="854">
                  <c:v>Mar-12 </c:v>
                </c:pt>
                <c:pt idx="855">
                  <c:v>Mar-12 </c:v>
                </c:pt>
                <c:pt idx="856">
                  <c:v>Mar-12 </c:v>
                </c:pt>
                <c:pt idx="857">
                  <c:v>Mar-12 </c:v>
                </c:pt>
                <c:pt idx="858">
                  <c:v>Mar-12 </c:v>
                </c:pt>
                <c:pt idx="859">
                  <c:v>Mar-12 </c:v>
                </c:pt>
                <c:pt idx="860">
                  <c:v>Mar-12 </c:v>
                </c:pt>
                <c:pt idx="861">
                  <c:v>Mar-12 </c:v>
                </c:pt>
                <c:pt idx="862">
                  <c:v>Mar-12 </c:v>
                </c:pt>
                <c:pt idx="863">
                  <c:v>Mar-12 </c:v>
                </c:pt>
                <c:pt idx="864">
                  <c:v>Mar-12 </c:v>
                </c:pt>
                <c:pt idx="865">
                  <c:v>Mar-12 </c:v>
                </c:pt>
                <c:pt idx="866">
                  <c:v>Mar-12 </c:v>
                </c:pt>
                <c:pt idx="867">
                  <c:v>Mar-12 </c:v>
                </c:pt>
                <c:pt idx="868">
                  <c:v>Apr-12</c:v>
                </c:pt>
                <c:pt idx="869">
                  <c:v>Apr-12</c:v>
                </c:pt>
                <c:pt idx="870">
                  <c:v>Apr-12</c:v>
                </c:pt>
                <c:pt idx="871">
                  <c:v>Apr-12</c:v>
                </c:pt>
                <c:pt idx="872">
                  <c:v>Apr-12</c:v>
                </c:pt>
                <c:pt idx="873">
                  <c:v>Apr-12</c:v>
                </c:pt>
                <c:pt idx="874">
                  <c:v>Apr-12</c:v>
                </c:pt>
                <c:pt idx="875">
                  <c:v>Apr-12</c:v>
                </c:pt>
                <c:pt idx="876">
                  <c:v>Apr-12</c:v>
                </c:pt>
                <c:pt idx="877">
                  <c:v>Apr-12</c:v>
                </c:pt>
                <c:pt idx="878">
                  <c:v>Apr-12</c:v>
                </c:pt>
                <c:pt idx="879">
                  <c:v>Apr-12</c:v>
                </c:pt>
                <c:pt idx="880">
                  <c:v>Apr-12</c:v>
                </c:pt>
                <c:pt idx="881">
                  <c:v>Apr-12</c:v>
                </c:pt>
                <c:pt idx="882">
                  <c:v>Apr-12</c:v>
                </c:pt>
                <c:pt idx="883">
                  <c:v>Apr-12</c:v>
                </c:pt>
                <c:pt idx="884">
                  <c:v>Apr-12</c:v>
                </c:pt>
                <c:pt idx="885">
                  <c:v>Apr-12</c:v>
                </c:pt>
                <c:pt idx="886">
                  <c:v>Apr-12</c:v>
                </c:pt>
                <c:pt idx="887">
                  <c:v>May-12 </c:v>
                </c:pt>
                <c:pt idx="888">
                  <c:v>May-12 </c:v>
                </c:pt>
                <c:pt idx="889">
                  <c:v>May-12 </c:v>
                </c:pt>
                <c:pt idx="890">
                  <c:v>May-12 </c:v>
                </c:pt>
                <c:pt idx="891">
                  <c:v>May-12 </c:v>
                </c:pt>
                <c:pt idx="892">
                  <c:v>May-12 </c:v>
                </c:pt>
                <c:pt idx="893">
                  <c:v>May-12 </c:v>
                </c:pt>
                <c:pt idx="894">
                  <c:v>May-12 </c:v>
                </c:pt>
                <c:pt idx="895">
                  <c:v>May-12 </c:v>
                </c:pt>
                <c:pt idx="896">
                  <c:v>May-12 </c:v>
                </c:pt>
                <c:pt idx="897">
                  <c:v>May-12 </c:v>
                </c:pt>
                <c:pt idx="898">
                  <c:v>May-12 </c:v>
                </c:pt>
                <c:pt idx="899">
                  <c:v>May-12 </c:v>
                </c:pt>
                <c:pt idx="900">
                  <c:v>May-12 </c:v>
                </c:pt>
                <c:pt idx="901">
                  <c:v>May-12 </c:v>
                </c:pt>
                <c:pt idx="902">
                  <c:v>May-12 </c:v>
                </c:pt>
                <c:pt idx="903">
                  <c:v>May-12 </c:v>
                </c:pt>
                <c:pt idx="904">
                  <c:v>May-12 </c:v>
                </c:pt>
                <c:pt idx="905">
                  <c:v>May-12 </c:v>
                </c:pt>
                <c:pt idx="906">
                  <c:v>May-12 </c:v>
                </c:pt>
                <c:pt idx="907">
                  <c:v>May-12 </c:v>
                </c:pt>
                <c:pt idx="908">
                  <c:v>May-12 </c:v>
                </c:pt>
                <c:pt idx="909">
                  <c:v>May-12 </c:v>
                </c:pt>
                <c:pt idx="910">
                  <c:v>Jun-12 </c:v>
                </c:pt>
                <c:pt idx="911">
                  <c:v>Jun-12 </c:v>
                </c:pt>
                <c:pt idx="912">
                  <c:v>Jun-12 </c:v>
                </c:pt>
                <c:pt idx="913">
                  <c:v>Jun-12 </c:v>
                </c:pt>
                <c:pt idx="914">
                  <c:v>Jun-12 </c:v>
                </c:pt>
                <c:pt idx="915">
                  <c:v>Jun-12 </c:v>
                </c:pt>
                <c:pt idx="916">
                  <c:v>Jun-12 </c:v>
                </c:pt>
                <c:pt idx="917">
                  <c:v>Jun-12 </c:v>
                </c:pt>
                <c:pt idx="918">
                  <c:v>Jun-12 </c:v>
                </c:pt>
                <c:pt idx="919">
                  <c:v>Jun-12 </c:v>
                </c:pt>
                <c:pt idx="920">
                  <c:v>Jun-12 </c:v>
                </c:pt>
                <c:pt idx="921">
                  <c:v>Jun-12 </c:v>
                </c:pt>
                <c:pt idx="922">
                  <c:v>Jun-12 </c:v>
                </c:pt>
                <c:pt idx="923">
                  <c:v>Jun-12 </c:v>
                </c:pt>
                <c:pt idx="924">
                  <c:v>Jun-12 </c:v>
                </c:pt>
                <c:pt idx="925">
                  <c:v>Jun-12 </c:v>
                </c:pt>
                <c:pt idx="926">
                  <c:v>Jun-12 </c:v>
                </c:pt>
                <c:pt idx="927">
                  <c:v>Jun-12 </c:v>
                </c:pt>
                <c:pt idx="928">
                  <c:v>Jun-12 </c:v>
                </c:pt>
                <c:pt idx="929">
                  <c:v>Jun-12 </c:v>
                </c:pt>
                <c:pt idx="930">
                  <c:v>Jun-12 </c:v>
                </c:pt>
                <c:pt idx="931">
                  <c:v>Jul-12</c:v>
                </c:pt>
                <c:pt idx="932">
                  <c:v>Jul-12</c:v>
                </c:pt>
                <c:pt idx="933">
                  <c:v>Jul-12</c:v>
                </c:pt>
                <c:pt idx="934">
                  <c:v>Jul-12</c:v>
                </c:pt>
                <c:pt idx="935">
                  <c:v>Jul-12</c:v>
                </c:pt>
                <c:pt idx="936">
                  <c:v>Jul-12</c:v>
                </c:pt>
                <c:pt idx="937">
                  <c:v>Jul-12</c:v>
                </c:pt>
                <c:pt idx="938">
                  <c:v>Jul-12</c:v>
                </c:pt>
                <c:pt idx="939">
                  <c:v>Jul-12</c:v>
                </c:pt>
                <c:pt idx="940">
                  <c:v>Jul-12</c:v>
                </c:pt>
                <c:pt idx="941">
                  <c:v>Jul-12</c:v>
                </c:pt>
                <c:pt idx="942">
                  <c:v>Jul-12</c:v>
                </c:pt>
                <c:pt idx="943">
                  <c:v>Jul-12</c:v>
                </c:pt>
                <c:pt idx="944">
                  <c:v>Jul-12</c:v>
                </c:pt>
                <c:pt idx="945">
                  <c:v>Jul-12</c:v>
                </c:pt>
                <c:pt idx="946">
                  <c:v>Jul-12</c:v>
                </c:pt>
                <c:pt idx="947">
                  <c:v>Jul-12</c:v>
                </c:pt>
                <c:pt idx="948">
                  <c:v>Jul-12</c:v>
                </c:pt>
                <c:pt idx="949">
                  <c:v>Jul-12</c:v>
                </c:pt>
                <c:pt idx="950">
                  <c:v>Jul-12</c:v>
                </c:pt>
                <c:pt idx="951">
                  <c:v>Jul-12</c:v>
                </c:pt>
                <c:pt idx="952">
                  <c:v>Jul-12</c:v>
                </c:pt>
                <c:pt idx="953">
                  <c:v>Aug-12 </c:v>
                </c:pt>
                <c:pt idx="954">
                  <c:v>Aug-12 </c:v>
                </c:pt>
                <c:pt idx="955">
                  <c:v>Aug-12 </c:v>
                </c:pt>
                <c:pt idx="956">
                  <c:v>Aug-12 </c:v>
                </c:pt>
                <c:pt idx="957">
                  <c:v>Aug-12 </c:v>
                </c:pt>
                <c:pt idx="958">
                  <c:v>Aug-12 </c:v>
                </c:pt>
                <c:pt idx="959">
                  <c:v>Aug-12 </c:v>
                </c:pt>
                <c:pt idx="960">
                  <c:v>Aug-12 </c:v>
                </c:pt>
                <c:pt idx="961">
                  <c:v>Aug-12 </c:v>
                </c:pt>
                <c:pt idx="962">
                  <c:v>Aug-12 </c:v>
                </c:pt>
                <c:pt idx="963">
                  <c:v>Aug-12 </c:v>
                </c:pt>
                <c:pt idx="964">
                  <c:v>Aug-12 </c:v>
                </c:pt>
                <c:pt idx="965">
                  <c:v>Aug-12 </c:v>
                </c:pt>
                <c:pt idx="966">
                  <c:v>Aug-12 </c:v>
                </c:pt>
                <c:pt idx="967">
                  <c:v>Aug-12 </c:v>
                </c:pt>
                <c:pt idx="968">
                  <c:v>Aug-12 </c:v>
                </c:pt>
                <c:pt idx="969">
                  <c:v>Aug-12 </c:v>
                </c:pt>
                <c:pt idx="970">
                  <c:v>Aug-12 </c:v>
                </c:pt>
                <c:pt idx="971">
                  <c:v>Aug-12 </c:v>
                </c:pt>
                <c:pt idx="972">
                  <c:v>Aug-12 </c:v>
                </c:pt>
                <c:pt idx="973">
                  <c:v>Aug-12 </c:v>
                </c:pt>
                <c:pt idx="974">
                  <c:v>Aug-12 </c:v>
                </c:pt>
                <c:pt idx="975">
                  <c:v>Aug-12 </c:v>
                </c:pt>
                <c:pt idx="976">
                  <c:v>Sep-12</c:v>
                </c:pt>
                <c:pt idx="977">
                  <c:v>Sep-12</c:v>
                </c:pt>
                <c:pt idx="978">
                  <c:v>Sep-12</c:v>
                </c:pt>
                <c:pt idx="979">
                  <c:v>Sep-12</c:v>
                </c:pt>
                <c:pt idx="980">
                  <c:v>Sep-12</c:v>
                </c:pt>
                <c:pt idx="981">
                  <c:v>Sep-12</c:v>
                </c:pt>
                <c:pt idx="982">
                  <c:v>Sep-12</c:v>
                </c:pt>
                <c:pt idx="983">
                  <c:v>Sep-12</c:v>
                </c:pt>
                <c:pt idx="984">
                  <c:v>Sep-12</c:v>
                </c:pt>
                <c:pt idx="985">
                  <c:v>Sep-12</c:v>
                </c:pt>
                <c:pt idx="986">
                  <c:v>Sep-12</c:v>
                </c:pt>
                <c:pt idx="987">
                  <c:v>Sep-12</c:v>
                </c:pt>
                <c:pt idx="988">
                  <c:v>Sep-12</c:v>
                </c:pt>
                <c:pt idx="989">
                  <c:v>Sep-12</c:v>
                </c:pt>
                <c:pt idx="990">
                  <c:v>Sep-12</c:v>
                </c:pt>
                <c:pt idx="991">
                  <c:v>Sep-12</c:v>
                </c:pt>
                <c:pt idx="992">
                  <c:v>Sep-12</c:v>
                </c:pt>
                <c:pt idx="993">
                  <c:v>Sep-12</c:v>
                </c:pt>
                <c:pt idx="994">
                  <c:v>Sep-12</c:v>
                </c:pt>
                <c:pt idx="995">
                  <c:v>Sep-12</c:v>
                </c:pt>
                <c:pt idx="996">
                  <c:v>Oct-12</c:v>
                </c:pt>
                <c:pt idx="997">
                  <c:v>Oct-12</c:v>
                </c:pt>
                <c:pt idx="998">
                  <c:v>Oct-12</c:v>
                </c:pt>
                <c:pt idx="999">
                  <c:v>Oct-12</c:v>
                </c:pt>
                <c:pt idx="1000">
                  <c:v>Oct-12</c:v>
                </c:pt>
                <c:pt idx="1001">
                  <c:v>Oct-12</c:v>
                </c:pt>
                <c:pt idx="1002">
                  <c:v>Oct-12</c:v>
                </c:pt>
                <c:pt idx="1003">
                  <c:v>Oct-12</c:v>
                </c:pt>
                <c:pt idx="1004">
                  <c:v>Oct-12</c:v>
                </c:pt>
                <c:pt idx="1005">
                  <c:v>Oct-12</c:v>
                </c:pt>
                <c:pt idx="1006">
                  <c:v>Oct-12</c:v>
                </c:pt>
                <c:pt idx="1007">
                  <c:v>Oct-12</c:v>
                </c:pt>
                <c:pt idx="1008">
                  <c:v>Oct-12</c:v>
                </c:pt>
                <c:pt idx="1009">
                  <c:v>Oct-12</c:v>
                </c:pt>
                <c:pt idx="1010">
                  <c:v>Oct-12</c:v>
                </c:pt>
                <c:pt idx="1011">
                  <c:v>Oct-12</c:v>
                </c:pt>
                <c:pt idx="1012">
                  <c:v>Oct-12</c:v>
                </c:pt>
                <c:pt idx="1013">
                  <c:v>Oct-12</c:v>
                </c:pt>
                <c:pt idx="1014">
                  <c:v>Oct-12</c:v>
                </c:pt>
                <c:pt idx="1015">
                  <c:v>Oct-12</c:v>
                </c:pt>
                <c:pt idx="1016">
                  <c:v>Oct-12</c:v>
                </c:pt>
                <c:pt idx="1017">
                  <c:v>Oct-12</c:v>
                </c:pt>
                <c:pt idx="1018">
                  <c:v>Oct-12</c:v>
                </c:pt>
                <c:pt idx="1019">
                  <c:v>Nov-12 </c:v>
                </c:pt>
                <c:pt idx="1020">
                  <c:v>Nov-12 </c:v>
                </c:pt>
                <c:pt idx="1021">
                  <c:v>Nov-12 </c:v>
                </c:pt>
                <c:pt idx="1022">
                  <c:v>Nov-12 </c:v>
                </c:pt>
                <c:pt idx="1023">
                  <c:v>Nov-12 </c:v>
                </c:pt>
                <c:pt idx="1024">
                  <c:v>Nov-12 </c:v>
                </c:pt>
                <c:pt idx="1025">
                  <c:v>Nov-12 </c:v>
                </c:pt>
                <c:pt idx="1026">
                  <c:v>Nov-12 </c:v>
                </c:pt>
                <c:pt idx="1027">
                  <c:v>Nov-12 </c:v>
                </c:pt>
                <c:pt idx="1028">
                  <c:v>Nov-12 </c:v>
                </c:pt>
                <c:pt idx="1029">
                  <c:v>Nov-12 </c:v>
                </c:pt>
                <c:pt idx="1030">
                  <c:v>Nov-12 </c:v>
                </c:pt>
                <c:pt idx="1031">
                  <c:v>Nov-12 </c:v>
                </c:pt>
                <c:pt idx="1032">
                  <c:v>Nov-12 </c:v>
                </c:pt>
                <c:pt idx="1033">
                  <c:v>Nov-12 </c:v>
                </c:pt>
                <c:pt idx="1034">
                  <c:v>Nov-12 </c:v>
                </c:pt>
                <c:pt idx="1035">
                  <c:v>Nov-12 </c:v>
                </c:pt>
                <c:pt idx="1036">
                  <c:v>Nov-12 </c:v>
                </c:pt>
                <c:pt idx="1037">
                  <c:v>Nov-12 </c:v>
                </c:pt>
                <c:pt idx="1038">
                  <c:v>Nov-12 </c:v>
                </c:pt>
                <c:pt idx="1039">
                  <c:v>Nov-12 </c:v>
                </c:pt>
                <c:pt idx="1040">
                  <c:v>Nov-12 </c:v>
                </c:pt>
                <c:pt idx="1041">
                  <c:v>Dec-12</c:v>
                </c:pt>
                <c:pt idx="1042">
                  <c:v>Dec-12</c:v>
                </c:pt>
                <c:pt idx="1043">
                  <c:v>Dec-12</c:v>
                </c:pt>
                <c:pt idx="1044">
                  <c:v>Dec-12</c:v>
                </c:pt>
                <c:pt idx="1045">
                  <c:v>Dec-12</c:v>
                </c:pt>
                <c:pt idx="1046">
                  <c:v>Dec-12</c:v>
                </c:pt>
                <c:pt idx="1047">
                  <c:v>Dec-12</c:v>
                </c:pt>
                <c:pt idx="1048">
                  <c:v>Dec-12</c:v>
                </c:pt>
                <c:pt idx="1049">
                  <c:v>Dec-12</c:v>
                </c:pt>
                <c:pt idx="1050">
                  <c:v>Dec-12</c:v>
                </c:pt>
                <c:pt idx="1051">
                  <c:v>Dec-12</c:v>
                </c:pt>
                <c:pt idx="1052">
                  <c:v>Dec-12</c:v>
                </c:pt>
                <c:pt idx="1053">
                  <c:v>Dec-12</c:v>
                </c:pt>
                <c:pt idx="1054">
                  <c:v>Dec-12</c:v>
                </c:pt>
                <c:pt idx="1055">
                  <c:v>Dec-12</c:v>
                </c:pt>
                <c:pt idx="1056">
                  <c:v>Dec-12</c:v>
                </c:pt>
                <c:pt idx="1057">
                  <c:v>Dec-12</c:v>
                </c:pt>
                <c:pt idx="1058">
                  <c:v>Dec-12</c:v>
                </c:pt>
                <c:pt idx="1059">
                  <c:v>Dec-12</c:v>
                </c:pt>
                <c:pt idx="1060">
                  <c:v>Jan-13 </c:v>
                </c:pt>
                <c:pt idx="1061">
                  <c:v>Jan-13 </c:v>
                </c:pt>
                <c:pt idx="1062">
                  <c:v>Jan-13 </c:v>
                </c:pt>
                <c:pt idx="1063">
                  <c:v>Jan-13 </c:v>
                </c:pt>
                <c:pt idx="1064">
                  <c:v>Jan-13 </c:v>
                </c:pt>
                <c:pt idx="1065">
                  <c:v>Jan-13 </c:v>
                </c:pt>
                <c:pt idx="1066">
                  <c:v>Jan-13 </c:v>
                </c:pt>
                <c:pt idx="1067">
                  <c:v>Jan-13 </c:v>
                </c:pt>
                <c:pt idx="1068">
                  <c:v>Jan-13 </c:v>
                </c:pt>
                <c:pt idx="1069">
                  <c:v>Jan-13 </c:v>
                </c:pt>
                <c:pt idx="1070">
                  <c:v>Jan-13 </c:v>
                </c:pt>
                <c:pt idx="1071">
                  <c:v>Jan-13 </c:v>
                </c:pt>
                <c:pt idx="1072">
                  <c:v>Jan-13 </c:v>
                </c:pt>
                <c:pt idx="1073">
                  <c:v>Jan-13 </c:v>
                </c:pt>
                <c:pt idx="1074">
                  <c:v>Jan-13 </c:v>
                </c:pt>
                <c:pt idx="1075">
                  <c:v>Jan-13 </c:v>
                </c:pt>
                <c:pt idx="1076">
                  <c:v>Jan-13 </c:v>
                </c:pt>
                <c:pt idx="1077">
                  <c:v>Jan-13 </c:v>
                </c:pt>
                <c:pt idx="1078">
                  <c:v>Jan-13 </c:v>
                </c:pt>
                <c:pt idx="1079">
                  <c:v>Jan-13 </c:v>
                </c:pt>
                <c:pt idx="1080">
                  <c:v>Jan-13 </c:v>
                </c:pt>
                <c:pt idx="1081">
                  <c:v>Jan-13 </c:v>
                </c:pt>
                <c:pt idx="1082">
                  <c:v>Feb-13 </c:v>
                </c:pt>
                <c:pt idx="1083">
                  <c:v>Feb-13 </c:v>
                </c:pt>
                <c:pt idx="1084">
                  <c:v>Feb-13 </c:v>
                </c:pt>
                <c:pt idx="1085">
                  <c:v>Feb-13 </c:v>
                </c:pt>
                <c:pt idx="1086">
                  <c:v>Feb-13 </c:v>
                </c:pt>
                <c:pt idx="1087">
                  <c:v>Feb-13 </c:v>
                </c:pt>
                <c:pt idx="1088">
                  <c:v>Feb-13 </c:v>
                </c:pt>
                <c:pt idx="1089">
                  <c:v>Feb-13 </c:v>
                </c:pt>
                <c:pt idx="1090">
                  <c:v>Feb-13 </c:v>
                </c:pt>
                <c:pt idx="1091">
                  <c:v>Feb-13 </c:v>
                </c:pt>
                <c:pt idx="1092">
                  <c:v>Feb-13 </c:v>
                </c:pt>
                <c:pt idx="1093">
                  <c:v>Feb-13 </c:v>
                </c:pt>
                <c:pt idx="1094">
                  <c:v>Feb-13 </c:v>
                </c:pt>
                <c:pt idx="1095">
                  <c:v>Feb-13 </c:v>
                </c:pt>
                <c:pt idx="1096">
                  <c:v>Feb-13 </c:v>
                </c:pt>
                <c:pt idx="1097">
                  <c:v>Feb-13 </c:v>
                </c:pt>
                <c:pt idx="1098">
                  <c:v>Feb-13 </c:v>
                </c:pt>
                <c:pt idx="1099">
                  <c:v>Feb-13 </c:v>
                </c:pt>
                <c:pt idx="1100">
                  <c:v>Feb-13 </c:v>
                </c:pt>
                <c:pt idx="1101">
                  <c:v>Feb-13 </c:v>
                </c:pt>
                <c:pt idx="1102">
                  <c:v>Mar-13 </c:v>
                </c:pt>
                <c:pt idx="1103">
                  <c:v>Mar-13 </c:v>
                </c:pt>
                <c:pt idx="1104">
                  <c:v>Mar-13 </c:v>
                </c:pt>
                <c:pt idx="1105">
                  <c:v>Mar-13 </c:v>
                </c:pt>
                <c:pt idx="1106">
                  <c:v>Mar-13 </c:v>
                </c:pt>
                <c:pt idx="1107">
                  <c:v>Mar-13 </c:v>
                </c:pt>
                <c:pt idx="1108">
                  <c:v>Mar-13 </c:v>
                </c:pt>
                <c:pt idx="1109">
                  <c:v>Mar-13 </c:v>
                </c:pt>
                <c:pt idx="1110">
                  <c:v>Mar-13 </c:v>
                </c:pt>
                <c:pt idx="1111">
                  <c:v>Mar-13 </c:v>
                </c:pt>
                <c:pt idx="1112">
                  <c:v>Mar-13 </c:v>
                </c:pt>
                <c:pt idx="1113">
                  <c:v>Mar-13 </c:v>
                </c:pt>
                <c:pt idx="1114">
                  <c:v>Mar-13 </c:v>
                </c:pt>
                <c:pt idx="1115">
                  <c:v>Mar-13 </c:v>
                </c:pt>
                <c:pt idx="1116">
                  <c:v>Mar-13 </c:v>
                </c:pt>
                <c:pt idx="1117">
                  <c:v>Mar-13 </c:v>
                </c:pt>
                <c:pt idx="1118">
                  <c:v>Mar-13 </c:v>
                </c:pt>
                <c:pt idx="1119">
                  <c:v>Mar-13 </c:v>
                </c:pt>
                <c:pt idx="1120">
                  <c:v>Mar-13 </c:v>
                </c:pt>
                <c:pt idx="1121">
                  <c:v>Mar-13 </c:v>
                </c:pt>
                <c:pt idx="1122">
                  <c:v>Apr-13</c:v>
                </c:pt>
                <c:pt idx="1123">
                  <c:v>Apr-13</c:v>
                </c:pt>
                <c:pt idx="1124">
                  <c:v>Apr-13</c:v>
                </c:pt>
                <c:pt idx="1125">
                  <c:v>Apr-13</c:v>
                </c:pt>
                <c:pt idx="1126">
                  <c:v>Apr-13</c:v>
                </c:pt>
                <c:pt idx="1127">
                  <c:v>Apr-13</c:v>
                </c:pt>
                <c:pt idx="1128">
                  <c:v>Apr-13</c:v>
                </c:pt>
                <c:pt idx="1129">
                  <c:v>Apr-13</c:v>
                </c:pt>
                <c:pt idx="1130">
                  <c:v>Apr-13</c:v>
                </c:pt>
                <c:pt idx="1131">
                  <c:v>Apr-13</c:v>
                </c:pt>
                <c:pt idx="1132">
                  <c:v>Apr-13</c:v>
                </c:pt>
                <c:pt idx="1133">
                  <c:v>Apr-13</c:v>
                </c:pt>
                <c:pt idx="1134">
                  <c:v>Apr-13</c:v>
                </c:pt>
                <c:pt idx="1135">
                  <c:v>Apr-13</c:v>
                </c:pt>
                <c:pt idx="1136">
                  <c:v>Apr-13</c:v>
                </c:pt>
                <c:pt idx="1137">
                  <c:v>Apr-13</c:v>
                </c:pt>
                <c:pt idx="1138">
                  <c:v>Apr-13</c:v>
                </c:pt>
                <c:pt idx="1139">
                  <c:v>Apr-13</c:v>
                </c:pt>
                <c:pt idx="1140">
                  <c:v>Apr-13</c:v>
                </c:pt>
                <c:pt idx="1141">
                  <c:v>Apr-13</c:v>
                </c:pt>
                <c:pt idx="1142">
                  <c:v>Apr-13</c:v>
                </c:pt>
                <c:pt idx="1143">
                  <c:v>May-13 </c:v>
                </c:pt>
                <c:pt idx="1144">
                  <c:v>May-13 </c:v>
                </c:pt>
                <c:pt idx="1145">
                  <c:v>May-13 </c:v>
                </c:pt>
                <c:pt idx="1146">
                  <c:v>May-13 </c:v>
                </c:pt>
                <c:pt idx="1147">
                  <c:v>May-13 </c:v>
                </c:pt>
                <c:pt idx="1148">
                  <c:v>May-13 </c:v>
                </c:pt>
                <c:pt idx="1149">
                  <c:v>May-13 </c:v>
                </c:pt>
                <c:pt idx="1150">
                  <c:v>May-13 </c:v>
                </c:pt>
                <c:pt idx="1151">
                  <c:v>May-13 </c:v>
                </c:pt>
                <c:pt idx="1152">
                  <c:v>May-13 </c:v>
                </c:pt>
                <c:pt idx="1153">
                  <c:v>May-13 </c:v>
                </c:pt>
                <c:pt idx="1154">
                  <c:v>May-13 </c:v>
                </c:pt>
                <c:pt idx="1155">
                  <c:v>May-13 </c:v>
                </c:pt>
                <c:pt idx="1156">
                  <c:v>May-13 </c:v>
                </c:pt>
                <c:pt idx="1157">
                  <c:v>May-13 </c:v>
                </c:pt>
                <c:pt idx="1158">
                  <c:v>May-13 </c:v>
                </c:pt>
                <c:pt idx="1159">
                  <c:v>May-13 </c:v>
                </c:pt>
                <c:pt idx="1160">
                  <c:v>May-13 </c:v>
                </c:pt>
                <c:pt idx="1161">
                  <c:v>May-13 </c:v>
                </c:pt>
                <c:pt idx="1162">
                  <c:v>May-13 </c:v>
                </c:pt>
                <c:pt idx="1163">
                  <c:v>May-13 </c:v>
                </c:pt>
                <c:pt idx="1164">
                  <c:v>May-13 </c:v>
                </c:pt>
                <c:pt idx="1165">
                  <c:v>May-13 </c:v>
                </c:pt>
                <c:pt idx="1166">
                  <c:v>Jun-13 </c:v>
                </c:pt>
                <c:pt idx="1167">
                  <c:v>Jun-13 </c:v>
                </c:pt>
                <c:pt idx="1168">
                  <c:v>Jun-13 </c:v>
                </c:pt>
                <c:pt idx="1169">
                  <c:v>Jun-13 </c:v>
                </c:pt>
                <c:pt idx="1170">
                  <c:v>Jun-13 </c:v>
                </c:pt>
                <c:pt idx="1171">
                  <c:v>Jun-13 </c:v>
                </c:pt>
                <c:pt idx="1172">
                  <c:v>Jun-13 </c:v>
                </c:pt>
                <c:pt idx="1173">
                  <c:v>Jun-13 </c:v>
                </c:pt>
                <c:pt idx="1174">
                  <c:v>Jun-13 </c:v>
                </c:pt>
                <c:pt idx="1175">
                  <c:v>Jun-13 </c:v>
                </c:pt>
                <c:pt idx="1176">
                  <c:v>Jun-13 </c:v>
                </c:pt>
                <c:pt idx="1177">
                  <c:v>Jun-13 </c:v>
                </c:pt>
                <c:pt idx="1178">
                  <c:v>Jun-13 </c:v>
                </c:pt>
                <c:pt idx="1179">
                  <c:v>Jun-13 </c:v>
                </c:pt>
                <c:pt idx="1180">
                  <c:v>Jun-13 </c:v>
                </c:pt>
                <c:pt idx="1181">
                  <c:v>Jun-13 </c:v>
                </c:pt>
                <c:pt idx="1182">
                  <c:v>Jun-13 </c:v>
                </c:pt>
                <c:pt idx="1183">
                  <c:v>Jun-13 </c:v>
                </c:pt>
                <c:pt idx="1184">
                  <c:v>Jun-13 </c:v>
                </c:pt>
                <c:pt idx="1185">
                  <c:v>Jun-13 </c:v>
                </c:pt>
                <c:pt idx="1186">
                  <c:v>Jul-13</c:v>
                </c:pt>
                <c:pt idx="1187">
                  <c:v>Jul-13</c:v>
                </c:pt>
                <c:pt idx="1188">
                  <c:v>Jul-13</c:v>
                </c:pt>
                <c:pt idx="1189">
                  <c:v>Jul-13</c:v>
                </c:pt>
                <c:pt idx="1190">
                  <c:v>Jul-13</c:v>
                </c:pt>
                <c:pt idx="1191">
                  <c:v>Jul-13</c:v>
                </c:pt>
                <c:pt idx="1192">
                  <c:v>Jul-13</c:v>
                </c:pt>
                <c:pt idx="1193">
                  <c:v>Jul-13</c:v>
                </c:pt>
                <c:pt idx="1194">
                  <c:v>Jul-13</c:v>
                </c:pt>
                <c:pt idx="1195">
                  <c:v>Jul-13</c:v>
                </c:pt>
                <c:pt idx="1196">
                  <c:v>Jul-13</c:v>
                </c:pt>
                <c:pt idx="1197">
                  <c:v>Jul-13</c:v>
                </c:pt>
                <c:pt idx="1198">
                  <c:v>Jul-13</c:v>
                </c:pt>
                <c:pt idx="1199">
                  <c:v>Jul-13</c:v>
                </c:pt>
                <c:pt idx="1200">
                  <c:v>Jul-13</c:v>
                </c:pt>
                <c:pt idx="1201">
                  <c:v>Jul-13</c:v>
                </c:pt>
                <c:pt idx="1202">
                  <c:v>Jul-13</c:v>
                </c:pt>
                <c:pt idx="1203">
                  <c:v>Jul-13</c:v>
                </c:pt>
                <c:pt idx="1204">
                  <c:v>Jul-13</c:v>
                </c:pt>
                <c:pt idx="1205">
                  <c:v>Jul-13</c:v>
                </c:pt>
                <c:pt idx="1206">
                  <c:v>Jul-13</c:v>
                </c:pt>
                <c:pt idx="1207">
                  <c:v>Jul-13</c:v>
                </c:pt>
                <c:pt idx="1208">
                  <c:v>Jul-13</c:v>
                </c:pt>
                <c:pt idx="1209">
                  <c:v>Aug-13 </c:v>
                </c:pt>
                <c:pt idx="1210">
                  <c:v>Aug-13 </c:v>
                </c:pt>
                <c:pt idx="1211">
                  <c:v>Aug-13 </c:v>
                </c:pt>
                <c:pt idx="1212">
                  <c:v>Aug-13 </c:v>
                </c:pt>
                <c:pt idx="1213">
                  <c:v>Aug-13 </c:v>
                </c:pt>
                <c:pt idx="1214">
                  <c:v>Aug-13 </c:v>
                </c:pt>
                <c:pt idx="1215">
                  <c:v>Aug-13 </c:v>
                </c:pt>
                <c:pt idx="1216">
                  <c:v>Aug-13 </c:v>
                </c:pt>
                <c:pt idx="1217">
                  <c:v>Aug-13 </c:v>
                </c:pt>
                <c:pt idx="1218">
                  <c:v>Aug-13 </c:v>
                </c:pt>
                <c:pt idx="1219">
                  <c:v>Aug-13 </c:v>
                </c:pt>
                <c:pt idx="1220">
                  <c:v>Aug-13 </c:v>
                </c:pt>
                <c:pt idx="1221">
                  <c:v>Aug-13 </c:v>
                </c:pt>
                <c:pt idx="1222">
                  <c:v>Aug-13 </c:v>
                </c:pt>
                <c:pt idx="1223">
                  <c:v>Aug-13 </c:v>
                </c:pt>
                <c:pt idx="1224">
                  <c:v>Aug-13 </c:v>
                </c:pt>
                <c:pt idx="1225">
                  <c:v>Aug-13 </c:v>
                </c:pt>
                <c:pt idx="1226">
                  <c:v>Aug-13 </c:v>
                </c:pt>
                <c:pt idx="1227">
                  <c:v>Aug-13 </c:v>
                </c:pt>
                <c:pt idx="1228">
                  <c:v>Aug-13 </c:v>
                </c:pt>
                <c:pt idx="1229">
                  <c:v>Aug-13 </c:v>
                </c:pt>
                <c:pt idx="1230">
                  <c:v>Aug-13 </c:v>
                </c:pt>
                <c:pt idx="1231">
                  <c:v>Sep-13</c:v>
                </c:pt>
                <c:pt idx="1232">
                  <c:v>Sep-13</c:v>
                </c:pt>
                <c:pt idx="1233">
                  <c:v>Sep-13</c:v>
                </c:pt>
                <c:pt idx="1234">
                  <c:v>Sep-13</c:v>
                </c:pt>
                <c:pt idx="1235">
                  <c:v>Sep-13</c:v>
                </c:pt>
                <c:pt idx="1236">
                  <c:v>Sep-13</c:v>
                </c:pt>
                <c:pt idx="1237">
                  <c:v>Sep-13</c:v>
                </c:pt>
                <c:pt idx="1238">
                  <c:v>Sep-13</c:v>
                </c:pt>
                <c:pt idx="1239">
                  <c:v>Sep-13</c:v>
                </c:pt>
                <c:pt idx="1240">
                  <c:v>Sep-13</c:v>
                </c:pt>
                <c:pt idx="1241">
                  <c:v>Sep-13</c:v>
                </c:pt>
                <c:pt idx="1242">
                  <c:v>Sep-13</c:v>
                </c:pt>
                <c:pt idx="1243">
                  <c:v>Sep-13</c:v>
                </c:pt>
                <c:pt idx="1244">
                  <c:v>Sep-13</c:v>
                </c:pt>
                <c:pt idx="1245">
                  <c:v>Sep-13</c:v>
                </c:pt>
              </c:strCache>
            </c:strRef>
          </c:cat>
          <c:val>
            <c:numRef>
              <c:f>Sheet0!$C$2:$C$1307</c:f>
              <c:numCache>
                <c:formatCode>General</c:formatCode>
                <c:ptCount val="1306"/>
                <c:pt idx="0">
                  <c:v>100.33</c:v>
                </c:pt>
                <c:pt idx="1">
                  <c:v>103.53</c:v>
                </c:pt>
                <c:pt idx="2">
                  <c:v>103.71</c:v>
                </c:pt>
                <c:pt idx="3">
                  <c:v>104.68</c:v>
                </c:pt>
                <c:pt idx="4">
                  <c:v>105</c:v>
                </c:pt>
                <c:pt idx="5">
                  <c:v>103.98</c:v>
                </c:pt>
                <c:pt idx="6">
                  <c:v>104.82</c:v>
                </c:pt>
                <c:pt idx="7">
                  <c:v>106</c:v>
                </c:pt>
                <c:pt idx="8">
                  <c:v>105.99</c:v>
                </c:pt>
                <c:pt idx="9">
                  <c:v>106.93</c:v>
                </c:pt>
                <c:pt idx="10">
                  <c:v>107.02</c:v>
                </c:pt>
                <c:pt idx="11">
                  <c:v>106.62</c:v>
                </c:pt>
                <c:pt idx="12">
                  <c:v>106.18</c:v>
                </c:pt>
                <c:pt idx="13">
                  <c:v>105.61</c:v>
                </c:pt>
                <c:pt idx="14">
                  <c:v>107.2</c:v>
                </c:pt>
                <c:pt idx="15">
                  <c:v>107.1</c:v>
                </c:pt>
                <c:pt idx="16">
                  <c:v>105.66</c:v>
                </c:pt>
                <c:pt idx="17">
                  <c:v>105.09</c:v>
                </c:pt>
                <c:pt idx="18">
                  <c:v>106.97</c:v>
                </c:pt>
                <c:pt idx="19">
                  <c:v>106.49</c:v>
                </c:pt>
                <c:pt idx="20">
                  <c:v>106.46</c:v>
                </c:pt>
                <c:pt idx="21">
                  <c:v>105.87</c:v>
                </c:pt>
                <c:pt idx="22">
                  <c:v>105.71</c:v>
                </c:pt>
                <c:pt idx="23">
                  <c:v>105.24</c:v>
                </c:pt>
                <c:pt idx="24">
                  <c:v>104.22</c:v>
                </c:pt>
                <c:pt idx="25">
                  <c:v>106.15</c:v>
                </c:pt>
                <c:pt idx="26">
                  <c:v>106.97</c:v>
                </c:pt>
                <c:pt idx="27">
                  <c:v>107.17</c:v>
                </c:pt>
                <c:pt idx="28">
                  <c:v>107.15</c:v>
                </c:pt>
                <c:pt idx="29">
                  <c:v>107.46</c:v>
                </c:pt>
                <c:pt idx="30">
                  <c:v>107.07</c:v>
                </c:pt>
                <c:pt idx="31">
                  <c:v>109.23</c:v>
                </c:pt>
                <c:pt idx="32">
                  <c:v>109.02</c:v>
                </c:pt>
                <c:pt idx="33">
                  <c:v>109.25</c:v>
                </c:pt>
                <c:pt idx="34">
                  <c:v>109.56</c:v>
                </c:pt>
                <c:pt idx="35">
                  <c:v>109.09</c:v>
                </c:pt>
                <c:pt idx="36">
                  <c:v>109.59</c:v>
                </c:pt>
                <c:pt idx="37">
                  <c:v>110.79</c:v>
                </c:pt>
                <c:pt idx="38">
                  <c:v>110.64</c:v>
                </c:pt>
                <c:pt idx="39">
                  <c:v>110.85</c:v>
                </c:pt>
                <c:pt idx="40">
                  <c:v>110.3</c:v>
                </c:pt>
                <c:pt idx="41">
                  <c:v>109.38</c:v>
                </c:pt>
                <c:pt idx="42">
                  <c:v>109.84</c:v>
                </c:pt>
                <c:pt idx="43">
                  <c:v>109.75</c:v>
                </c:pt>
                <c:pt idx="44">
                  <c:v>109.55</c:v>
                </c:pt>
                <c:pt idx="45">
                  <c:v>110.31</c:v>
                </c:pt>
                <c:pt idx="46">
                  <c:v>109.41</c:v>
                </c:pt>
                <c:pt idx="47">
                  <c:v>111.09</c:v>
                </c:pt>
                <c:pt idx="48">
                  <c:v>110.79</c:v>
                </c:pt>
                <c:pt idx="49">
                  <c:v>110.69</c:v>
                </c:pt>
                <c:pt idx="50">
                  <c:v>111.64</c:v>
                </c:pt>
                <c:pt idx="51">
                  <c:v>110.24</c:v>
                </c:pt>
                <c:pt idx="52">
                  <c:v>109.57</c:v>
                </c:pt>
                <c:pt idx="53">
                  <c:v>109.47</c:v>
                </c:pt>
                <c:pt idx="54">
                  <c:v>110.45</c:v>
                </c:pt>
                <c:pt idx="55">
                  <c:v>108.07</c:v>
                </c:pt>
                <c:pt idx="56">
                  <c:v>108.77</c:v>
                </c:pt>
                <c:pt idx="57">
                  <c:v>110.68</c:v>
                </c:pt>
                <c:pt idx="58">
                  <c:v>110.46</c:v>
                </c:pt>
                <c:pt idx="59">
                  <c:v>109.36</c:v>
                </c:pt>
                <c:pt idx="60">
                  <c:v>106.94</c:v>
                </c:pt>
                <c:pt idx="61">
                  <c:v>107.89</c:v>
                </c:pt>
                <c:pt idx="62">
                  <c:v>108.32</c:v>
                </c:pt>
                <c:pt idx="63">
                  <c:v>107.51</c:v>
                </c:pt>
                <c:pt idx="64">
                  <c:v>105.02</c:v>
                </c:pt>
                <c:pt idx="65">
                  <c:v>104.43</c:v>
                </c:pt>
                <c:pt idx="66">
                  <c:v>107.16</c:v>
                </c:pt>
                <c:pt idx="67">
                  <c:v>109.34</c:v>
                </c:pt>
                <c:pt idx="68">
                  <c:v>109.51</c:v>
                </c:pt>
                <c:pt idx="69">
                  <c:v>109.24</c:v>
                </c:pt>
                <c:pt idx="70">
                  <c:v>110.38</c:v>
                </c:pt>
                <c:pt idx="71">
                  <c:v>110.76</c:v>
                </c:pt>
                <c:pt idx="72">
                  <c:v>111.21</c:v>
                </c:pt>
                <c:pt idx="73">
                  <c:v>111.24</c:v>
                </c:pt>
                <c:pt idx="74">
                  <c:v>111.86</c:v>
                </c:pt>
                <c:pt idx="75">
                  <c:v>111.99</c:v>
                </c:pt>
                <c:pt idx="76">
                  <c:v>111.33</c:v>
                </c:pt>
                <c:pt idx="77">
                  <c:v>111.48</c:v>
                </c:pt>
                <c:pt idx="78">
                  <c:v>110.8</c:v>
                </c:pt>
                <c:pt idx="79">
                  <c:v>111.48</c:v>
                </c:pt>
                <c:pt idx="80">
                  <c:v>112.85</c:v>
                </c:pt>
                <c:pt idx="81">
                  <c:v>112.76</c:v>
                </c:pt>
                <c:pt idx="82">
                  <c:v>112.57</c:v>
                </c:pt>
                <c:pt idx="83">
                  <c:v>112.44</c:v>
                </c:pt>
                <c:pt idx="84">
                  <c:v>111.23</c:v>
                </c:pt>
                <c:pt idx="85">
                  <c:v>111.23</c:v>
                </c:pt>
                <c:pt idx="86">
                  <c:v>111.84</c:v>
                </c:pt>
                <c:pt idx="87">
                  <c:v>110.7</c:v>
                </c:pt>
                <c:pt idx="88">
                  <c:v>110.22</c:v>
                </c:pt>
                <c:pt idx="89">
                  <c:v>111.95</c:v>
                </c:pt>
                <c:pt idx="90">
                  <c:v>112.07</c:v>
                </c:pt>
                <c:pt idx="91">
                  <c:v>111.55</c:v>
                </c:pt>
                <c:pt idx="92">
                  <c:v>111.66</c:v>
                </c:pt>
                <c:pt idx="93">
                  <c:v>110.95</c:v>
                </c:pt>
                <c:pt idx="94">
                  <c:v>109.29</c:v>
                </c:pt>
                <c:pt idx="95">
                  <c:v>110.87</c:v>
                </c:pt>
                <c:pt idx="96">
                  <c:v>113.53</c:v>
                </c:pt>
                <c:pt idx="97">
                  <c:v>114.2</c:v>
                </c:pt>
                <c:pt idx="98">
                  <c:v>114.34</c:v>
                </c:pt>
                <c:pt idx="99">
                  <c:v>114.07</c:v>
                </c:pt>
                <c:pt idx="100">
                  <c:v>115.37</c:v>
                </c:pt>
                <c:pt idx="101">
                  <c:v>114.48</c:v>
                </c:pt>
                <c:pt idx="102">
                  <c:v>114.03</c:v>
                </c:pt>
                <c:pt idx="103">
                  <c:v>115.31</c:v>
                </c:pt>
                <c:pt idx="104">
                  <c:v>115.53</c:v>
                </c:pt>
                <c:pt idx="105">
                  <c:v>114.95</c:v>
                </c:pt>
                <c:pt idx="106">
                  <c:v>115.76</c:v>
                </c:pt>
                <c:pt idx="107">
                  <c:v>116.44</c:v>
                </c:pt>
                <c:pt idx="108">
                  <c:v>115.32</c:v>
                </c:pt>
                <c:pt idx="109">
                  <c:v>115.23</c:v>
                </c:pt>
                <c:pt idx="110">
                  <c:v>117.14</c:v>
                </c:pt>
                <c:pt idx="111">
                  <c:v>117.17</c:v>
                </c:pt>
                <c:pt idx="112">
                  <c:v>116.66</c:v>
                </c:pt>
                <c:pt idx="113">
                  <c:v>116.99</c:v>
                </c:pt>
                <c:pt idx="114">
                  <c:v>118.11</c:v>
                </c:pt>
                <c:pt idx="115">
                  <c:v>118.54</c:v>
                </c:pt>
                <c:pt idx="116">
                  <c:v>118.3</c:v>
                </c:pt>
                <c:pt idx="117">
                  <c:v>117.99</c:v>
                </c:pt>
                <c:pt idx="118">
                  <c:v>118.13</c:v>
                </c:pt>
                <c:pt idx="119">
                  <c:v>118.17</c:v>
                </c:pt>
                <c:pt idx="120">
                  <c:v>118.38</c:v>
                </c:pt>
                <c:pt idx="121">
                  <c:v>119.37</c:v>
                </c:pt>
                <c:pt idx="122">
                  <c:v>119.43</c:v>
                </c:pt>
                <c:pt idx="123">
                  <c:v>119.51</c:v>
                </c:pt>
                <c:pt idx="124">
                  <c:v>117.51</c:v>
                </c:pt>
                <c:pt idx="125">
                  <c:v>116.68</c:v>
                </c:pt>
                <c:pt idx="126">
                  <c:v>115.39</c:v>
                </c:pt>
                <c:pt idx="127">
                  <c:v>114.95</c:v>
                </c:pt>
                <c:pt idx="128">
                  <c:v>116.47</c:v>
                </c:pt>
                <c:pt idx="129">
                  <c:v>117.46</c:v>
                </c:pt>
                <c:pt idx="130">
                  <c:v>116.67</c:v>
                </c:pt>
                <c:pt idx="131">
                  <c:v>115.79</c:v>
                </c:pt>
                <c:pt idx="132">
                  <c:v>116.21</c:v>
                </c:pt>
                <c:pt idx="133">
                  <c:v>115.51</c:v>
                </c:pt>
                <c:pt idx="134">
                  <c:v>115.08</c:v>
                </c:pt>
                <c:pt idx="135">
                  <c:v>115.54</c:v>
                </c:pt>
                <c:pt idx="136">
                  <c:v>115.39</c:v>
                </c:pt>
                <c:pt idx="137">
                  <c:v>114.25</c:v>
                </c:pt>
                <c:pt idx="138">
                  <c:v>113.17</c:v>
                </c:pt>
                <c:pt idx="139">
                  <c:v>112.09</c:v>
                </c:pt>
                <c:pt idx="140">
                  <c:v>109.49</c:v>
                </c:pt>
                <c:pt idx="141">
                  <c:v>107.37</c:v>
                </c:pt>
                <c:pt idx="142">
                  <c:v>109.6</c:v>
                </c:pt>
                <c:pt idx="143">
                  <c:v>110</c:v>
                </c:pt>
                <c:pt idx="144">
                  <c:v>112.39</c:v>
                </c:pt>
                <c:pt idx="145">
                  <c:v>112.01</c:v>
                </c:pt>
                <c:pt idx="146">
                  <c:v>112.56</c:v>
                </c:pt>
                <c:pt idx="147">
                  <c:v>114.24</c:v>
                </c:pt>
                <c:pt idx="148">
                  <c:v>114.31</c:v>
                </c:pt>
                <c:pt idx="149">
                  <c:v>114.46</c:v>
                </c:pt>
                <c:pt idx="150">
                  <c:v>114.4</c:v>
                </c:pt>
                <c:pt idx="151">
                  <c:v>115.43</c:v>
                </c:pt>
                <c:pt idx="152">
                  <c:v>114.52</c:v>
                </c:pt>
                <c:pt idx="153">
                  <c:v>116.37</c:v>
                </c:pt>
                <c:pt idx="154">
                  <c:v>116.44</c:v>
                </c:pt>
                <c:pt idx="155">
                  <c:v>116.31</c:v>
                </c:pt>
                <c:pt idx="156">
                  <c:v>116.98</c:v>
                </c:pt>
                <c:pt idx="157">
                  <c:v>116.49</c:v>
                </c:pt>
                <c:pt idx="158">
                  <c:v>117.11</c:v>
                </c:pt>
                <c:pt idx="159">
                  <c:v>116.7</c:v>
                </c:pt>
                <c:pt idx="160">
                  <c:v>115.07</c:v>
                </c:pt>
                <c:pt idx="161">
                  <c:v>115.89</c:v>
                </c:pt>
                <c:pt idx="162">
                  <c:v>114.86</c:v>
                </c:pt>
                <c:pt idx="163">
                  <c:v>114.98</c:v>
                </c:pt>
                <c:pt idx="164">
                  <c:v>112.51</c:v>
                </c:pt>
                <c:pt idx="165">
                  <c:v>113.01</c:v>
                </c:pt>
                <c:pt idx="166">
                  <c:v>115.34</c:v>
                </c:pt>
                <c:pt idx="167">
                  <c:v>115.95</c:v>
                </c:pt>
                <c:pt idx="168">
                  <c:v>116.74</c:v>
                </c:pt>
                <c:pt idx="169">
                  <c:v>117.49</c:v>
                </c:pt>
                <c:pt idx="170">
                  <c:v>118.39</c:v>
                </c:pt>
                <c:pt idx="171">
                  <c:v>118.82</c:v>
                </c:pt>
                <c:pt idx="172">
                  <c:v>119.07</c:v>
                </c:pt>
                <c:pt idx="173">
                  <c:v>118.61</c:v>
                </c:pt>
                <c:pt idx="174">
                  <c:v>116.98</c:v>
                </c:pt>
                <c:pt idx="175">
                  <c:v>116.47</c:v>
                </c:pt>
                <c:pt idx="176">
                  <c:v>117.91</c:v>
                </c:pt>
                <c:pt idx="177">
                  <c:v>116.62</c:v>
                </c:pt>
                <c:pt idx="178">
                  <c:v>118.01</c:v>
                </c:pt>
                <c:pt idx="179">
                  <c:v>118.24</c:v>
                </c:pt>
                <c:pt idx="180">
                  <c:v>117.36</c:v>
                </c:pt>
                <c:pt idx="181">
                  <c:v>116.93</c:v>
                </c:pt>
                <c:pt idx="182">
                  <c:v>116.62</c:v>
                </c:pt>
                <c:pt idx="183">
                  <c:v>115.23</c:v>
                </c:pt>
                <c:pt idx="184">
                  <c:v>115.8</c:v>
                </c:pt>
                <c:pt idx="185">
                  <c:v>116.74</c:v>
                </c:pt>
                <c:pt idx="186">
                  <c:v>115.72</c:v>
                </c:pt>
                <c:pt idx="187">
                  <c:v>113.7</c:v>
                </c:pt>
                <c:pt idx="188">
                  <c:v>114.07</c:v>
                </c:pt>
                <c:pt idx="189">
                  <c:v>114.61</c:v>
                </c:pt>
                <c:pt idx="190">
                  <c:v>114.1</c:v>
                </c:pt>
                <c:pt idx="191">
                  <c:v>114.9</c:v>
                </c:pt>
                <c:pt idx="192">
                  <c:v>114.78</c:v>
                </c:pt>
                <c:pt idx="193">
                  <c:v>116.59</c:v>
                </c:pt>
                <c:pt idx="194">
                  <c:v>115.44</c:v>
                </c:pt>
                <c:pt idx="195">
                  <c:v>113.8</c:v>
                </c:pt>
                <c:pt idx="196">
                  <c:v>114.03</c:v>
                </c:pt>
                <c:pt idx="197">
                  <c:v>113.33</c:v>
                </c:pt>
                <c:pt idx="198">
                  <c:v>113.48</c:v>
                </c:pt>
                <c:pt idx="199">
                  <c:v>112.34</c:v>
                </c:pt>
                <c:pt idx="200">
                  <c:v>113.44</c:v>
                </c:pt>
                <c:pt idx="201">
                  <c:v>111.74</c:v>
                </c:pt>
                <c:pt idx="202">
                  <c:v>111.8</c:v>
                </c:pt>
                <c:pt idx="203">
                  <c:v>113.41</c:v>
                </c:pt>
                <c:pt idx="204">
                  <c:v>111.72</c:v>
                </c:pt>
                <c:pt idx="205">
                  <c:v>111.3</c:v>
                </c:pt>
                <c:pt idx="206">
                  <c:v>112.44</c:v>
                </c:pt>
                <c:pt idx="207">
                  <c:v>111.61</c:v>
                </c:pt>
                <c:pt idx="208">
                  <c:v>113.76</c:v>
                </c:pt>
                <c:pt idx="209">
                  <c:v>113.44</c:v>
                </c:pt>
                <c:pt idx="210">
                  <c:v>111.11</c:v>
                </c:pt>
                <c:pt idx="211">
                  <c:v>110.63</c:v>
                </c:pt>
                <c:pt idx="212">
                  <c:v>110.79</c:v>
                </c:pt>
                <c:pt idx="213">
                  <c:v>111.74</c:v>
                </c:pt>
                <c:pt idx="214">
                  <c:v>113.91</c:v>
                </c:pt>
                <c:pt idx="215">
                  <c:v>115.61</c:v>
                </c:pt>
                <c:pt idx="216">
                  <c:v>116.61</c:v>
                </c:pt>
                <c:pt idx="217">
                  <c:v>116.72</c:v>
                </c:pt>
                <c:pt idx="218">
                  <c:v>116.07</c:v>
                </c:pt>
                <c:pt idx="219">
                  <c:v>115.28</c:v>
                </c:pt>
                <c:pt idx="220">
                  <c:v>115.86</c:v>
                </c:pt>
                <c:pt idx="221">
                  <c:v>113.98</c:v>
                </c:pt>
                <c:pt idx="222">
                  <c:v>110.94</c:v>
                </c:pt>
                <c:pt idx="223">
                  <c:v>110.26</c:v>
                </c:pt>
                <c:pt idx="224">
                  <c:v>111.26</c:v>
                </c:pt>
                <c:pt idx="225">
                  <c:v>110.23</c:v>
                </c:pt>
                <c:pt idx="226">
                  <c:v>109.64</c:v>
                </c:pt>
                <c:pt idx="227">
                  <c:v>107.47</c:v>
                </c:pt>
                <c:pt idx="228">
                  <c:v>108.8</c:v>
                </c:pt>
                <c:pt idx="229">
                  <c:v>110.53</c:v>
                </c:pt>
                <c:pt idx="230">
                  <c:v>112.49</c:v>
                </c:pt>
                <c:pt idx="231">
                  <c:v>113.09</c:v>
                </c:pt>
                <c:pt idx="232">
                  <c:v>112.24</c:v>
                </c:pt>
                <c:pt idx="233">
                  <c:v>111.91</c:v>
                </c:pt>
                <c:pt idx="234">
                  <c:v>110.15</c:v>
                </c:pt>
                <c:pt idx="235">
                  <c:v>109.68</c:v>
                </c:pt>
                <c:pt idx="236">
                  <c:v>108.87</c:v>
                </c:pt>
                <c:pt idx="237">
                  <c:v>106.11</c:v>
                </c:pt>
                <c:pt idx="238">
                  <c:v>103.8</c:v>
                </c:pt>
                <c:pt idx="239">
                  <c:v>101.75</c:v>
                </c:pt>
                <c:pt idx="240">
                  <c:v>97.93</c:v>
                </c:pt>
                <c:pt idx="241">
                  <c:v>96.52</c:v>
                </c:pt>
                <c:pt idx="242">
                  <c:v>92.36</c:v>
                </c:pt>
                <c:pt idx="243">
                  <c:v>93.26</c:v>
                </c:pt>
                <c:pt idx="244">
                  <c:v>88.76</c:v>
                </c:pt>
                <c:pt idx="245">
                  <c:v>91.51</c:v>
                </c:pt>
                <c:pt idx="246">
                  <c:v>95.09</c:v>
                </c:pt>
                <c:pt idx="247">
                  <c:v>95.75</c:v>
                </c:pt>
                <c:pt idx="248">
                  <c:v>95.29</c:v>
                </c:pt>
                <c:pt idx="249">
                  <c:v>95.54</c:v>
                </c:pt>
                <c:pt idx="250">
                  <c:v>90.4</c:v>
                </c:pt>
                <c:pt idx="251">
                  <c:v>88.7</c:v>
                </c:pt>
                <c:pt idx="252">
                  <c:v>89.44</c:v>
                </c:pt>
                <c:pt idx="253">
                  <c:v>89.93</c:v>
                </c:pt>
                <c:pt idx="254">
                  <c:v>91.59</c:v>
                </c:pt>
                <c:pt idx="255">
                  <c:v>90.79</c:v>
                </c:pt>
                <c:pt idx="256">
                  <c:v>89.97</c:v>
                </c:pt>
                <c:pt idx="257">
                  <c:v>92.02</c:v>
                </c:pt>
                <c:pt idx="258">
                  <c:v>92.18</c:v>
                </c:pt>
                <c:pt idx="259">
                  <c:v>94.9</c:v>
                </c:pt>
                <c:pt idx="260">
                  <c:v>94.92</c:v>
                </c:pt>
                <c:pt idx="261">
                  <c:v>91.79</c:v>
                </c:pt>
                <c:pt idx="262">
                  <c:v>87.49</c:v>
                </c:pt>
                <c:pt idx="263">
                  <c:v>86.56</c:v>
                </c:pt>
                <c:pt idx="264">
                  <c:v>89.68</c:v>
                </c:pt>
                <c:pt idx="265">
                  <c:v>90.15</c:v>
                </c:pt>
                <c:pt idx="266">
                  <c:v>86.69</c:v>
                </c:pt>
                <c:pt idx="267">
                  <c:v>83.82</c:v>
                </c:pt>
                <c:pt idx="268">
                  <c:v>85.08</c:v>
                </c:pt>
                <c:pt idx="269">
                  <c:v>87.05</c:v>
                </c:pt>
                <c:pt idx="270">
                  <c:v>89.6</c:v>
                </c:pt>
                <c:pt idx="271">
                  <c:v>90.02</c:v>
                </c:pt>
                <c:pt idx="272">
                  <c:v>87.68</c:v>
                </c:pt>
                <c:pt idx="273">
                  <c:v>89.37</c:v>
                </c:pt>
                <c:pt idx="274">
                  <c:v>87.86</c:v>
                </c:pt>
                <c:pt idx="275">
                  <c:v>83.49</c:v>
                </c:pt>
                <c:pt idx="276">
                  <c:v>84.2</c:v>
                </c:pt>
                <c:pt idx="277">
                  <c:v>86.07</c:v>
                </c:pt>
                <c:pt idx="278">
                  <c:v>90.41</c:v>
                </c:pt>
                <c:pt idx="279">
                  <c:v>89.66</c:v>
                </c:pt>
                <c:pt idx="280">
                  <c:v>90.78</c:v>
                </c:pt>
                <c:pt idx="281">
                  <c:v>89.28</c:v>
                </c:pt>
                <c:pt idx="282">
                  <c:v>87.56</c:v>
                </c:pt>
                <c:pt idx="283">
                  <c:v>85.22</c:v>
                </c:pt>
                <c:pt idx="284">
                  <c:v>88.57</c:v>
                </c:pt>
                <c:pt idx="285">
                  <c:v>91.38</c:v>
                </c:pt>
                <c:pt idx="286">
                  <c:v>91.99</c:v>
                </c:pt>
                <c:pt idx="287">
                  <c:v>94.05</c:v>
                </c:pt>
                <c:pt idx="288">
                  <c:v>93.83</c:v>
                </c:pt>
                <c:pt idx="289">
                  <c:v>96.09</c:v>
                </c:pt>
                <c:pt idx="290">
                  <c:v>94.74</c:v>
                </c:pt>
                <c:pt idx="291">
                  <c:v>95.75</c:v>
                </c:pt>
                <c:pt idx="292">
                  <c:v>94.18</c:v>
                </c:pt>
                <c:pt idx="293">
                  <c:v>94.01</c:v>
                </c:pt>
                <c:pt idx="294">
                  <c:v>94.59</c:v>
                </c:pt>
                <c:pt idx="295">
                  <c:v>92.45</c:v>
                </c:pt>
                <c:pt idx="296">
                  <c:v>95.1</c:v>
                </c:pt>
                <c:pt idx="297">
                  <c:v>96.46</c:v>
                </c:pt>
                <c:pt idx="298">
                  <c:v>95.61</c:v>
                </c:pt>
                <c:pt idx="299">
                  <c:v>95.36</c:v>
                </c:pt>
                <c:pt idx="300">
                  <c:v>100.44</c:v>
                </c:pt>
                <c:pt idx="301">
                  <c:v>99.91</c:v>
                </c:pt>
                <c:pt idx="302">
                  <c:v>96.84</c:v>
                </c:pt>
                <c:pt idx="303">
                  <c:v>92.15</c:v>
                </c:pt>
                <c:pt idx="304">
                  <c:v>93.37</c:v>
                </c:pt>
                <c:pt idx="305">
                  <c:v>95.84</c:v>
                </c:pt>
                <c:pt idx="306">
                  <c:v>93.92</c:v>
                </c:pt>
                <c:pt idx="307">
                  <c:v>93.57</c:v>
                </c:pt>
                <c:pt idx="308">
                  <c:v>94.4</c:v>
                </c:pt>
                <c:pt idx="309">
                  <c:v>92.23</c:v>
                </c:pt>
                <c:pt idx="310">
                  <c:v>92.24</c:v>
                </c:pt>
                <c:pt idx="311">
                  <c:v>94.93</c:v>
                </c:pt>
                <c:pt idx="312">
                  <c:v>93.54</c:v>
                </c:pt>
                <c:pt idx="313">
                  <c:v>92.24</c:v>
                </c:pt>
                <c:pt idx="314">
                  <c:v>92.49</c:v>
                </c:pt>
                <c:pt idx="315">
                  <c:v>91.25</c:v>
                </c:pt>
                <c:pt idx="316">
                  <c:v>90.83</c:v>
                </c:pt>
                <c:pt idx="317">
                  <c:v>87.74</c:v>
                </c:pt>
                <c:pt idx="318">
                  <c:v>86.83</c:v>
                </c:pt>
                <c:pt idx="319">
                  <c:v>85.41</c:v>
                </c:pt>
                <c:pt idx="320">
                  <c:v>85.33</c:v>
                </c:pt>
                <c:pt idx="321">
                  <c:v>86.05</c:v>
                </c:pt>
                <c:pt idx="322">
                  <c:v>90.2</c:v>
                </c:pt>
                <c:pt idx="323">
                  <c:v>90.72</c:v>
                </c:pt>
                <c:pt idx="324">
                  <c:v>94.59</c:v>
                </c:pt>
                <c:pt idx="325">
                  <c:v>93.83</c:v>
                </c:pt>
                <c:pt idx="326">
                  <c:v>94.86</c:v>
                </c:pt>
                <c:pt idx="327">
                  <c:v>96.01</c:v>
                </c:pt>
                <c:pt idx="328">
                  <c:v>95.41</c:v>
                </c:pt>
                <c:pt idx="329">
                  <c:v>94.93</c:v>
                </c:pt>
                <c:pt idx="330">
                  <c:v>92.7</c:v>
                </c:pt>
                <c:pt idx="331">
                  <c:v>94.54</c:v>
                </c:pt>
                <c:pt idx="332">
                  <c:v>91.83</c:v>
                </c:pt>
                <c:pt idx="333">
                  <c:v>91.61</c:v>
                </c:pt>
                <c:pt idx="334">
                  <c:v>89.41</c:v>
                </c:pt>
                <c:pt idx="335">
                  <c:v>90.2</c:v>
                </c:pt>
                <c:pt idx="336">
                  <c:v>89.71</c:v>
                </c:pt>
                <c:pt idx="337">
                  <c:v>89.72</c:v>
                </c:pt>
                <c:pt idx="338">
                  <c:v>92.25</c:v>
                </c:pt>
                <c:pt idx="339">
                  <c:v>91.52</c:v>
                </c:pt>
                <c:pt idx="340">
                  <c:v>92.61</c:v>
                </c:pt>
                <c:pt idx="341">
                  <c:v>93.32</c:v>
                </c:pt>
                <c:pt idx="342">
                  <c:v>93.33</c:v>
                </c:pt>
                <c:pt idx="343">
                  <c:v>92.18</c:v>
                </c:pt>
                <c:pt idx="344">
                  <c:v>93.41</c:v>
                </c:pt>
                <c:pt idx="345">
                  <c:v>94.31</c:v>
                </c:pt>
                <c:pt idx="346">
                  <c:v>96.36</c:v>
                </c:pt>
                <c:pt idx="347">
                  <c:v>97.24</c:v>
                </c:pt>
                <c:pt idx="348">
                  <c:v>95.87</c:v>
                </c:pt>
                <c:pt idx="349">
                  <c:v>94.57</c:v>
                </c:pt>
                <c:pt idx="350">
                  <c:v>94.2</c:v>
                </c:pt>
                <c:pt idx="351">
                  <c:v>93.76</c:v>
                </c:pt>
                <c:pt idx="352">
                  <c:v>96</c:v>
                </c:pt>
                <c:pt idx="353">
                  <c:v>95.83</c:v>
                </c:pt>
                <c:pt idx="354">
                  <c:v>96.18</c:v>
                </c:pt>
                <c:pt idx="355">
                  <c:v>95.83</c:v>
                </c:pt>
                <c:pt idx="356">
                  <c:v>96.77</c:v>
                </c:pt>
                <c:pt idx="357">
                  <c:v>98.1</c:v>
                </c:pt>
                <c:pt idx="358">
                  <c:v>98.05</c:v>
                </c:pt>
                <c:pt idx="359">
                  <c:v>99.78</c:v>
                </c:pt>
                <c:pt idx="360">
                  <c:v>99.57</c:v>
                </c:pt>
                <c:pt idx="361">
                  <c:v>100.28</c:v>
                </c:pt>
                <c:pt idx="362">
                  <c:v>99.7</c:v>
                </c:pt>
                <c:pt idx="363">
                  <c:v>99.59</c:v>
                </c:pt>
                <c:pt idx="364">
                  <c:v>101.28</c:v>
                </c:pt>
                <c:pt idx="365">
                  <c:v>100.33</c:v>
                </c:pt>
                <c:pt idx="366">
                  <c:v>98.91</c:v>
                </c:pt>
                <c:pt idx="367">
                  <c:v>99.6</c:v>
                </c:pt>
                <c:pt idx="368">
                  <c:v>101.89</c:v>
                </c:pt>
                <c:pt idx="369">
                  <c:v>102.25</c:v>
                </c:pt>
                <c:pt idx="370">
                  <c:v>103.75</c:v>
                </c:pt>
                <c:pt idx="371">
                  <c:v>103.43</c:v>
                </c:pt>
                <c:pt idx="372">
                  <c:v>103.48</c:v>
                </c:pt>
                <c:pt idx="373">
                  <c:v>103.55</c:v>
                </c:pt>
                <c:pt idx="374">
                  <c:v>103.9</c:v>
                </c:pt>
                <c:pt idx="375">
                  <c:v>102.39</c:v>
                </c:pt>
                <c:pt idx="376">
                  <c:v>102.86</c:v>
                </c:pt>
                <c:pt idx="377">
                  <c:v>102.64</c:v>
                </c:pt>
                <c:pt idx="378">
                  <c:v>103.09</c:v>
                </c:pt>
                <c:pt idx="379">
                  <c:v>102.87</c:v>
                </c:pt>
                <c:pt idx="380">
                  <c:v>104.22</c:v>
                </c:pt>
                <c:pt idx="381">
                  <c:v>105.57</c:v>
                </c:pt>
                <c:pt idx="382">
                  <c:v>105.06</c:v>
                </c:pt>
                <c:pt idx="383">
                  <c:v>104.17</c:v>
                </c:pt>
                <c:pt idx="384">
                  <c:v>103.67</c:v>
                </c:pt>
                <c:pt idx="385">
                  <c:v>104.32</c:v>
                </c:pt>
                <c:pt idx="386">
                  <c:v>103.82</c:v>
                </c:pt>
                <c:pt idx="387">
                  <c:v>104.13</c:v>
                </c:pt>
                <c:pt idx="388">
                  <c:v>103.94</c:v>
                </c:pt>
                <c:pt idx="389">
                  <c:v>105.28</c:v>
                </c:pt>
                <c:pt idx="390">
                  <c:v>105.33</c:v>
                </c:pt>
                <c:pt idx="391">
                  <c:v>104.61</c:v>
                </c:pt>
                <c:pt idx="392">
                  <c:v>101.13</c:v>
                </c:pt>
                <c:pt idx="393">
                  <c:v>101.94</c:v>
                </c:pt>
                <c:pt idx="394">
                  <c:v>104.23</c:v>
                </c:pt>
                <c:pt idx="395">
                  <c:v>104.46</c:v>
                </c:pt>
                <c:pt idx="396">
                  <c:v>104.41</c:v>
                </c:pt>
                <c:pt idx="397">
                  <c:v>106.16</c:v>
                </c:pt>
                <c:pt idx="398">
                  <c:v>106.74</c:v>
                </c:pt>
                <c:pt idx="399">
                  <c:v>107.44</c:v>
                </c:pt>
                <c:pt idx="400">
                  <c:v>107.92</c:v>
                </c:pt>
                <c:pt idx="401">
                  <c:v>107.98</c:v>
                </c:pt>
                <c:pt idx="402">
                  <c:v>106.72</c:v>
                </c:pt>
                <c:pt idx="403">
                  <c:v>106.43</c:v>
                </c:pt>
                <c:pt idx="404">
                  <c:v>104.97</c:v>
                </c:pt>
                <c:pt idx="405">
                  <c:v>105.05</c:v>
                </c:pt>
                <c:pt idx="406">
                  <c:v>105.92</c:v>
                </c:pt>
                <c:pt idx="407">
                  <c:v>105.37</c:v>
                </c:pt>
                <c:pt idx="408">
                  <c:v>104.24</c:v>
                </c:pt>
                <c:pt idx="409">
                  <c:v>102.54</c:v>
                </c:pt>
                <c:pt idx="410">
                  <c:v>103.7</c:v>
                </c:pt>
                <c:pt idx="411">
                  <c:v>104.75</c:v>
                </c:pt>
                <c:pt idx="412">
                  <c:v>103.26</c:v>
                </c:pt>
                <c:pt idx="413">
                  <c:v>100.46</c:v>
                </c:pt>
                <c:pt idx="414">
                  <c:v>100.48</c:v>
                </c:pt>
                <c:pt idx="415">
                  <c:v>97.6</c:v>
                </c:pt>
                <c:pt idx="416">
                  <c:v>98.49</c:v>
                </c:pt>
                <c:pt idx="417">
                  <c:v>99.38</c:v>
                </c:pt>
                <c:pt idx="418">
                  <c:v>97.15</c:v>
                </c:pt>
                <c:pt idx="419">
                  <c:v>97.51</c:v>
                </c:pt>
                <c:pt idx="420">
                  <c:v>100.05</c:v>
                </c:pt>
                <c:pt idx="421">
                  <c:v>98.48</c:v>
                </c:pt>
                <c:pt idx="422">
                  <c:v>97.1</c:v>
                </c:pt>
                <c:pt idx="423">
                  <c:v>97.91</c:v>
                </c:pt>
                <c:pt idx="424">
                  <c:v>95.06</c:v>
                </c:pt>
                <c:pt idx="425">
                  <c:v>96.68</c:v>
                </c:pt>
                <c:pt idx="426">
                  <c:v>98.57</c:v>
                </c:pt>
                <c:pt idx="427">
                  <c:v>98.6</c:v>
                </c:pt>
                <c:pt idx="428">
                  <c:v>99.77</c:v>
                </c:pt>
                <c:pt idx="429">
                  <c:v>98.7</c:v>
                </c:pt>
                <c:pt idx="430">
                  <c:v>98.72</c:v>
                </c:pt>
                <c:pt idx="431">
                  <c:v>98.22</c:v>
                </c:pt>
                <c:pt idx="432">
                  <c:v>98.09</c:v>
                </c:pt>
                <c:pt idx="433">
                  <c:v>96.61</c:v>
                </c:pt>
                <c:pt idx="434">
                  <c:v>97.87</c:v>
                </c:pt>
                <c:pt idx="435">
                  <c:v>96.03</c:v>
                </c:pt>
                <c:pt idx="436">
                  <c:v>95.74</c:v>
                </c:pt>
                <c:pt idx="437">
                  <c:v>96.82</c:v>
                </c:pt>
                <c:pt idx="438">
                  <c:v>97.22</c:v>
                </c:pt>
                <c:pt idx="439">
                  <c:v>94.97</c:v>
                </c:pt>
                <c:pt idx="440">
                  <c:v>94.05</c:v>
                </c:pt>
                <c:pt idx="441">
                  <c:v>93.82</c:v>
                </c:pt>
                <c:pt idx="442">
                  <c:v>92.7</c:v>
                </c:pt>
                <c:pt idx="443">
                  <c:v>92.44</c:v>
                </c:pt>
                <c:pt idx="444">
                  <c:v>93.11</c:v>
                </c:pt>
                <c:pt idx="445">
                  <c:v>94.99</c:v>
                </c:pt>
                <c:pt idx="446">
                  <c:v>92.47</c:v>
                </c:pt>
                <c:pt idx="447">
                  <c:v>93.31</c:v>
                </c:pt>
                <c:pt idx="448">
                  <c:v>93.59</c:v>
                </c:pt>
                <c:pt idx="449">
                  <c:v>93.28</c:v>
                </c:pt>
                <c:pt idx="450">
                  <c:v>94.05</c:v>
                </c:pt>
                <c:pt idx="451">
                  <c:v>92.29</c:v>
                </c:pt>
                <c:pt idx="452">
                  <c:v>92.16</c:v>
                </c:pt>
                <c:pt idx="453">
                  <c:v>90.02</c:v>
                </c:pt>
                <c:pt idx="454">
                  <c:v>90.01</c:v>
                </c:pt>
                <c:pt idx="455">
                  <c:v>90.47</c:v>
                </c:pt>
                <c:pt idx="456">
                  <c:v>92.64</c:v>
                </c:pt>
                <c:pt idx="457">
                  <c:v>93.23</c:v>
                </c:pt>
                <c:pt idx="458">
                  <c:v>93.14</c:v>
                </c:pt>
                <c:pt idx="459">
                  <c:v>92.83</c:v>
                </c:pt>
                <c:pt idx="460">
                  <c:v>92.86</c:v>
                </c:pt>
                <c:pt idx="461">
                  <c:v>92.62</c:v>
                </c:pt>
                <c:pt idx="462">
                  <c:v>92.77</c:v>
                </c:pt>
                <c:pt idx="463">
                  <c:v>94.18</c:v>
                </c:pt>
                <c:pt idx="464">
                  <c:v>93.7</c:v>
                </c:pt>
                <c:pt idx="465">
                  <c:v>95.47</c:v>
                </c:pt>
                <c:pt idx="466">
                  <c:v>96.05</c:v>
                </c:pt>
                <c:pt idx="467">
                  <c:v>95.66</c:v>
                </c:pt>
                <c:pt idx="468">
                  <c:v>95</c:v>
                </c:pt>
                <c:pt idx="469">
                  <c:v>92.8</c:v>
                </c:pt>
                <c:pt idx="470">
                  <c:v>92.46</c:v>
                </c:pt>
                <c:pt idx="471">
                  <c:v>94.03</c:v>
                </c:pt>
                <c:pt idx="472">
                  <c:v>93.68</c:v>
                </c:pt>
                <c:pt idx="473">
                  <c:v>98</c:v>
                </c:pt>
                <c:pt idx="474">
                  <c:v>99.15</c:v>
                </c:pt>
                <c:pt idx="475">
                  <c:v>100.29</c:v>
                </c:pt>
                <c:pt idx="476">
                  <c:v>100.16</c:v>
                </c:pt>
                <c:pt idx="477">
                  <c:v>99.07</c:v>
                </c:pt>
                <c:pt idx="478">
                  <c:v>97.15</c:v>
                </c:pt>
                <c:pt idx="479">
                  <c:v>96.83</c:v>
                </c:pt>
                <c:pt idx="480">
                  <c:v>97.6</c:v>
                </c:pt>
                <c:pt idx="481">
                  <c:v>97.49</c:v>
                </c:pt>
                <c:pt idx="482">
                  <c:v>96.62</c:v>
                </c:pt>
                <c:pt idx="483">
                  <c:v>98.05</c:v>
                </c:pt>
                <c:pt idx="484">
                  <c:v>97.97</c:v>
                </c:pt>
                <c:pt idx="485">
                  <c:v>97.92</c:v>
                </c:pt>
                <c:pt idx="486">
                  <c:v>99.2</c:v>
                </c:pt>
                <c:pt idx="487">
                  <c:v>100.2</c:v>
                </c:pt>
                <c:pt idx="488">
                  <c:v>97.8</c:v>
                </c:pt>
                <c:pt idx="489">
                  <c:v>95.1</c:v>
                </c:pt>
                <c:pt idx="490">
                  <c:v>94.14</c:v>
                </c:pt>
                <c:pt idx="491">
                  <c:v>94.48</c:v>
                </c:pt>
                <c:pt idx="492">
                  <c:v>98.03</c:v>
                </c:pt>
                <c:pt idx="493">
                  <c:v>99.95</c:v>
                </c:pt>
                <c:pt idx="494">
                  <c:v>101.46</c:v>
                </c:pt>
                <c:pt idx="495">
                  <c:v>100.76</c:v>
                </c:pt>
                <c:pt idx="496">
                  <c:v>101.01</c:v>
                </c:pt>
                <c:pt idx="497">
                  <c:v>98.33</c:v>
                </c:pt>
                <c:pt idx="498">
                  <c:v>102.37</c:v>
                </c:pt>
                <c:pt idx="499">
                  <c:v>103.53</c:v>
                </c:pt>
                <c:pt idx="500">
                  <c:v>104.78</c:v>
                </c:pt>
                <c:pt idx="501">
                  <c:v>104.46</c:v>
                </c:pt>
                <c:pt idx="502">
                  <c:v>104.74</c:v>
                </c:pt>
                <c:pt idx="503">
                  <c:v>104.24</c:v>
                </c:pt>
                <c:pt idx="504">
                  <c:v>103.89</c:v>
                </c:pt>
                <c:pt idx="505">
                  <c:v>104.54</c:v>
                </c:pt>
                <c:pt idx="506">
                  <c:v>104.44</c:v>
                </c:pt>
                <c:pt idx="507">
                  <c:v>105.62</c:v>
                </c:pt>
                <c:pt idx="508">
                  <c:v>106.39</c:v>
                </c:pt>
                <c:pt idx="509">
                  <c:v>105.95</c:v>
                </c:pt>
                <c:pt idx="510">
                  <c:v>106.98</c:v>
                </c:pt>
                <c:pt idx="511">
                  <c:v>105.59</c:v>
                </c:pt>
                <c:pt idx="512">
                  <c:v>104.68</c:v>
                </c:pt>
                <c:pt idx="513">
                  <c:v>104.75</c:v>
                </c:pt>
                <c:pt idx="514">
                  <c:v>105.72</c:v>
                </c:pt>
                <c:pt idx="515">
                  <c:v>104.94</c:v>
                </c:pt>
                <c:pt idx="516">
                  <c:v>104.79</c:v>
                </c:pt>
                <c:pt idx="517">
                  <c:v>103.54</c:v>
                </c:pt>
                <c:pt idx="518">
                  <c:v>104.87</c:v>
                </c:pt>
                <c:pt idx="519">
                  <c:v>105.75</c:v>
                </c:pt>
                <c:pt idx="520">
                  <c:v>104.72</c:v>
                </c:pt>
                <c:pt idx="521">
                  <c:v>104.86</c:v>
                </c:pt>
                <c:pt idx="522">
                  <c:v>108.08</c:v>
                </c:pt>
                <c:pt idx="523">
                  <c:v>108.8</c:v>
                </c:pt>
                <c:pt idx="524">
                  <c:v>108.48</c:v>
                </c:pt>
                <c:pt idx="525">
                  <c:v>109.4</c:v>
                </c:pt>
                <c:pt idx="526">
                  <c:v>109.92</c:v>
                </c:pt>
                <c:pt idx="527">
                  <c:v>109.09</c:v>
                </c:pt>
                <c:pt idx="528">
                  <c:v>111.21</c:v>
                </c:pt>
                <c:pt idx="529">
                  <c:v>110.7</c:v>
                </c:pt>
                <c:pt idx="530">
                  <c:v>109.54</c:v>
                </c:pt>
                <c:pt idx="531">
                  <c:v>110.07</c:v>
                </c:pt>
                <c:pt idx="532">
                  <c:v>109.6</c:v>
                </c:pt>
                <c:pt idx="533">
                  <c:v>110.55</c:v>
                </c:pt>
                <c:pt idx="534">
                  <c:v>109.75</c:v>
                </c:pt>
                <c:pt idx="535">
                  <c:v>110.28</c:v>
                </c:pt>
                <c:pt idx="536">
                  <c:v>107.55</c:v>
                </c:pt>
                <c:pt idx="537">
                  <c:v>107.91</c:v>
                </c:pt>
                <c:pt idx="538">
                  <c:v>106.2</c:v>
                </c:pt>
                <c:pt idx="539">
                  <c:v>108.07</c:v>
                </c:pt>
                <c:pt idx="540">
                  <c:v>107.92</c:v>
                </c:pt>
                <c:pt idx="541">
                  <c:v>107.89</c:v>
                </c:pt>
                <c:pt idx="542">
                  <c:v>107.76</c:v>
                </c:pt>
                <c:pt idx="543">
                  <c:v>109.46</c:v>
                </c:pt>
                <c:pt idx="544">
                  <c:v>108.05</c:v>
                </c:pt>
                <c:pt idx="545">
                  <c:v>107.2</c:v>
                </c:pt>
                <c:pt idx="546">
                  <c:v>106.61</c:v>
                </c:pt>
                <c:pt idx="547">
                  <c:v>107.75</c:v>
                </c:pt>
                <c:pt idx="548">
                  <c:v>107</c:v>
                </c:pt>
                <c:pt idx="549">
                  <c:v>107.66</c:v>
                </c:pt>
                <c:pt idx="550">
                  <c:v>109.78</c:v>
                </c:pt>
                <c:pt idx="551">
                  <c:v>110.69</c:v>
                </c:pt>
                <c:pt idx="552">
                  <c:v>110.82</c:v>
                </c:pt>
                <c:pt idx="553">
                  <c:v>109.66</c:v>
                </c:pt>
                <c:pt idx="554">
                  <c:v>109.2</c:v>
                </c:pt>
                <c:pt idx="555">
                  <c:v>107.07</c:v>
                </c:pt>
                <c:pt idx="556">
                  <c:v>107.57</c:v>
                </c:pt>
                <c:pt idx="557">
                  <c:v>107.41</c:v>
                </c:pt>
                <c:pt idx="558">
                  <c:v>107.79</c:v>
                </c:pt>
                <c:pt idx="559">
                  <c:v>107.14</c:v>
                </c:pt>
                <c:pt idx="560">
                  <c:v>108.44</c:v>
                </c:pt>
                <c:pt idx="561">
                  <c:v>108.01</c:v>
                </c:pt>
                <c:pt idx="562">
                  <c:v>109.21</c:v>
                </c:pt>
                <c:pt idx="563">
                  <c:v>109.78</c:v>
                </c:pt>
                <c:pt idx="564">
                  <c:v>108.72</c:v>
                </c:pt>
                <c:pt idx="565">
                  <c:v>109.47</c:v>
                </c:pt>
                <c:pt idx="566">
                  <c:v>107.44</c:v>
                </c:pt>
                <c:pt idx="567">
                  <c:v>107.13</c:v>
                </c:pt>
                <c:pt idx="568">
                  <c:v>107.09</c:v>
                </c:pt>
                <c:pt idx="569">
                  <c:v>106.87</c:v>
                </c:pt>
                <c:pt idx="570">
                  <c:v>107.46</c:v>
                </c:pt>
                <c:pt idx="571">
                  <c:v>106.68</c:v>
                </c:pt>
                <c:pt idx="572">
                  <c:v>105.95</c:v>
                </c:pt>
                <c:pt idx="573">
                  <c:v>104.6</c:v>
                </c:pt>
                <c:pt idx="574">
                  <c:v>107.22</c:v>
                </c:pt>
                <c:pt idx="575">
                  <c:v>107.8</c:v>
                </c:pt>
                <c:pt idx="576">
                  <c:v>108.16</c:v>
                </c:pt>
                <c:pt idx="577">
                  <c:v>109</c:v>
                </c:pt>
                <c:pt idx="578">
                  <c:v>109.89</c:v>
                </c:pt>
                <c:pt idx="579">
                  <c:v>109.34</c:v>
                </c:pt>
                <c:pt idx="580">
                  <c:v>109.59</c:v>
                </c:pt>
                <c:pt idx="581">
                  <c:v>109.71</c:v>
                </c:pt>
                <c:pt idx="582">
                  <c:v>111.22</c:v>
                </c:pt>
                <c:pt idx="583">
                  <c:v>111.03</c:v>
                </c:pt>
                <c:pt idx="584">
                  <c:v>111.29</c:v>
                </c:pt>
                <c:pt idx="585">
                  <c:v>111.51</c:v>
                </c:pt>
                <c:pt idx="586">
                  <c:v>111.69</c:v>
                </c:pt>
                <c:pt idx="587">
                  <c:v>112.25</c:v>
                </c:pt>
                <c:pt idx="588">
                  <c:v>112.2</c:v>
                </c:pt>
                <c:pt idx="589">
                  <c:v>112</c:v>
                </c:pt>
                <c:pt idx="590">
                  <c:v>113.03</c:v>
                </c:pt>
                <c:pt idx="591">
                  <c:v>113.29</c:v>
                </c:pt>
                <c:pt idx="592">
                  <c:v>113.18</c:v>
                </c:pt>
                <c:pt idx="593">
                  <c:v>113.33</c:v>
                </c:pt>
                <c:pt idx="594">
                  <c:v>113.33</c:v>
                </c:pt>
                <c:pt idx="595">
                  <c:v>114</c:v>
                </c:pt>
                <c:pt idx="596">
                  <c:v>114.62</c:v>
                </c:pt>
                <c:pt idx="597">
                  <c:v>114.72</c:v>
                </c:pt>
                <c:pt idx="598">
                  <c:v>114.36</c:v>
                </c:pt>
                <c:pt idx="599">
                  <c:v>114.23</c:v>
                </c:pt>
                <c:pt idx="600">
                  <c:v>114.57</c:v>
                </c:pt>
                <c:pt idx="601">
                  <c:v>113.44</c:v>
                </c:pt>
                <c:pt idx="602">
                  <c:v>113.77</c:v>
                </c:pt>
                <c:pt idx="603">
                  <c:v>116.72</c:v>
                </c:pt>
                <c:pt idx="604">
                  <c:v>116.57</c:v>
                </c:pt>
                <c:pt idx="605">
                  <c:v>116.92</c:v>
                </c:pt>
                <c:pt idx="606">
                  <c:v>116.41</c:v>
                </c:pt>
                <c:pt idx="607">
                  <c:v>116.23</c:v>
                </c:pt>
                <c:pt idx="608">
                  <c:v>116.98</c:v>
                </c:pt>
                <c:pt idx="609">
                  <c:v>116.95</c:v>
                </c:pt>
                <c:pt idx="610">
                  <c:v>117.14</c:v>
                </c:pt>
                <c:pt idx="611">
                  <c:v>117</c:v>
                </c:pt>
                <c:pt idx="612">
                  <c:v>116.75</c:v>
                </c:pt>
                <c:pt idx="613">
                  <c:v>116.92</c:v>
                </c:pt>
                <c:pt idx="614">
                  <c:v>117.85</c:v>
                </c:pt>
                <c:pt idx="615">
                  <c:v>117.62</c:v>
                </c:pt>
                <c:pt idx="616">
                  <c:v>118.23</c:v>
                </c:pt>
                <c:pt idx="617">
                  <c:v>117.87</c:v>
                </c:pt>
                <c:pt idx="618">
                  <c:v>117.69</c:v>
                </c:pt>
                <c:pt idx="619">
                  <c:v>118.33</c:v>
                </c:pt>
                <c:pt idx="620">
                  <c:v>119.18</c:v>
                </c:pt>
                <c:pt idx="621">
                  <c:v>119.21</c:v>
                </c:pt>
                <c:pt idx="622">
                  <c:v>119.3</c:v>
                </c:pt>
                <c:pt idx="623">
                  <c:v>118.44</c:v>
                </c:pt>
                <c:pt idx="624">
                  <c:v>117.43</c:v>
                </c:pt>
                <c:pt idx="625">
                  <c:v>118.15</c:v>
                </c:pt>
                <c:pt idx="626">
                  <c:v>114.91</c:v>
                </c:pt>
                <c:pt idx="627">
                  <c:v>115.74</c:v>
                </c:pt>
                <c:pt idx="628">
                  <c:v>114.68</c:v>
                </c:pt>
                <c:pt idx="629">
                  <c:v>114.09</c:v>
                </c:pt>
                <c:pt idx="630">
                  <c:v>115.39</c:v>
                </c:pt>
                <c:pt idx="631">
                  <c:v>115.07</c:v>
                </c:pt>
                <c:pt idx="632">
                  <c:v>115.98</c:v>
                </c:pt>
                <c:pt idx="633">
                  <c:v>116.62</c:v>
                </c:pt>
                <c:pt idx="634">
                  <c:v>115.93</c:v>
                </c:pt>
                <c:pt idx="635">
                  <c:v>115.52</c:v>
                </c:pt>
                <c:pt idx="636">
                  <c:v>115.51</c:v>
                </c:pt>
                <c:pt idx="637">
                  <c:v>117.29</c:v>
                </c:pt>
                <c:pt idx="638">
                  <c:v>116.71</c:v>
                </c:pt>
                <c:pt idx="639">
                  <c:v>114.31</c:v>
                </c:pt>
                <c:pt idx="640">
                  <c:v>116.07</c:v>
                </c:pt>
                <c:pt idx="641">
                  <c:v>116.85</c:v>
                </c:pt>
                <c:pt idx="642">
                  <c:v>113.99</c:v>
                </c:pt>
                <c:pt idx="643">
                  <c:v>115.55</c:v>
                </c:pt>
                <c:pt idx="644">
                  <c:v>116.49</c:v>
                </c:pt>
                <c:pt idx="645">
                  <c:v>115.89</c:v>
                </c:pt>
                <c:pt idx="646">
                  <c:v>115.9</c:v>
                </c:pt>
                <c:pt idx="647">
                  <c:v>118.36</c:v>
                </c:pt>
                <c:pt idx="648">
                  <c:v>118.31</c:v>
                </c:pt>
                <c:pt idx="649">
                  <c:v>118.71</c:v>
                </c:pt>
                <c:pt idx="650">
                  <c:v>120.1</c:v>
                </c:pt>
                <c:pt idx="651">
                  <c:v>119.85</c:v>
                </c:pt>
                <c:pt idx="652">
                  <c:v>119.75</c:v>
                </c:pt>
                <c:pt idx="653">
                  <c:v>119.51</c:v>
                </c:pt>
                <c:pt idx="654">
                  <c:v>120.89</c:v>
                </c:pt>
                <c:pt idx="655">
                  <c:v>120.28</c:v>
                </c:pt>
                <c:pt idx="656">
                  <c:v>119.77</c:v>
                </c:pt>
                <c:pt idx="657">
                  <c:v>118.49</c:v>
                </c:pt>
                <c:pt idx="658">
                  <c:v>119.74</c:v>
                </c:pt>
                <c:pt idx="659">
                  <c:v>118.69</c:v>
                </c:pt>
                <c:pt idx="660">
                  <c:v>118.51</c:v>
                </c:pt>
                <c:pt idx="661">
                  <c:v>117.31</c:v>
                </c:pt>
                <c:pt idx="662">
                  <c:v>117.2</c:v>
                </c:pt>
                <c:pt idx="663">
                  <c:v>116</c:v>
                </c:pt>
                <c:pt idx="664">
                  <c:v>116.49</c:v>
                </c:pt>
                <c:pt idx="665">
                  <c:v>118.53</c:v>
                </c:pt>
                <c:pt idx="666">
                  <c:v>117.13</c:v>
                </c:pt>
                <c:pt idx="667">
                  <c:v>116.24</c:v>
                </c:pt>
                <c:pt idx="668">
                  <c:v>114.49</c:v>
                </c:pt>
                <c:pt idx="669">
                  <c:v>114.63</c:v>
                </c:pt>
                <c:pt idx="670">
                  <c:v>114.87</c:v>
                </c:pt>
                <c:pt idx="671">
                  <c:v>117.61</c:v>
                </c:pt>
                <c:pt idx="672">
                  <c:v>118.43</c:v>
                </c:pt>
                <c:pt idx="673">
                  <c:v>116.93</c:v>
                </c:pt>
                <c:pt idx="674">
                  <c:v>116.23</c:v>
                </c:pt>
                <c:pt idx="675">
                  <c:v>115.54</c:v>
                </c:pt>
                <c:pt idx="676">
                  <c:v>113.37</c:v>
                </c:pt>
                <c:pt idx="677">
                  <c:v>113.25</c:v>
                </c:pt>
                <c:pt idx="678">
                  <c:v>114.11</c:v>
                </c:pt>
                <c:pt idx="679">
                  <c:v>114.59</c:v>
                </c:pt>
                <c:pt idx="680">
                  <c:v>117.93</c:v>
                </c:pt>
                <c:pt idx="681">
                  <c:v>119.23</c:v>
                </c:pt>
                <c:pt idx="682">
                  <c:v>119.69</c:v>
                </c:pt>
                <c:pt idx="683">
                  <c:v>118.94</c:v>
                </c:pt>
                <c:pt idx="684">
                  <c:v>120.45</c:v>
                </c:pt>
                <c:pt idx="685">
                  <c:v>120.22</c:v>
                </c:pt>
                <c:pt idx="686">
                  <c:v>120.22</c:v>
                </c:pt>
                <c:pt idx="687">
                  <c:v>120.59</c:v>
                </c:pt>
                <c:pt idx="688">
                  <c:v>122.44</c:v>
                </c:pt>
                <c:pt idx="689">
                  <c:v>122.33</c:v>
                </c:pt>
                <c:pt idx="690">
                  <c:v>123.08</c:v>
                </c:pt>
                <c:pt idx="691">
                  <c:v>123.93</c:v>
                </c:pt>
                <c:pt idx="692">
                  <c:v>123.86</c:v>
                </c:pt>
                <c:pt idx="693">
                  <c:v>124.45</c:v>
                </c:pt>
                <c:pt idx="694">
                  <c:v>124.2</c:v>
                </c:pt>
                <c:pt idx="695">
                  <c:v>124.99</c:v>
                </c:pt>
                <c:pt idx="696">
                  <c:v>125.78</c:v>
                </c:pt>
                <c:pt idx="697">
                  <c:v>125.78</c:v>
                </c:pt>
                <c:pt idx="698">
                  <c:v>126.29</c:v>
                </c:pt>
                <c:pt idx="699">
                  <c:v>126.95</c:v>
                </c:pt>
                <c:pt idx="700">
                  <c:v>127.05</c:v>
                </c:pt>
                <c:pt idx="701">
                  <c:v>127.6</c:v>
                </c:pt>
                <c:pt idx="702">
                  <c:v>125.01</c:v>
                </c:pt>
                <c:pt idx="703">
                  <c:v>124.59</c:v>
                </c:pt>
                <c:pt idx="704">
                  <c:v>125.72</c:v>
                </c:pt>
                <c:pt idx="705">
                  <c:v>127.44</c:v>
                </c:pt>
                <c:pt idx="706">
                  <c:v>125.43</c:v>
                </c:pt>
                <c:pt idx="707">
                  <c:v>125.95</c:v>
                </c:pt>
                <c:pt idx="708">
                  <c:v>124.78</c:v>
                </c:pt>
                <c:pt idx="709">
                  <c:v>123.9</c:v>
                </c:pt>
                <c:pt idx="710">
                  <c:v>124.18</c:v>
                </c:pt>
                <c:pt idx="711">
                  <c:v>122.39</c:v>
                </c:pt>
                <c:pt idx="712">
                  <c:v>121.1</c:v>
                </c:pt>
                <c:pt idx="713">
                  <c:v>122.82</c:v>
                </c:pt>
                <c:pt idx="714">
                  <c:v>122.78</c:v>
                </c:pt>
                <c:pt idx="715">
                  <c:v>121.22</c:v>
                </c:pt>
                <c:pt idx="716">
                  <c:v>120.55</c:v>
                </c:pt>
                <c:pt idx="717">
                  <c:v>120.37</c:v>
                </c:pt>
                <c:pt idx="718">
                  <c:v>120.8</c:v>
                </c:pt>
                <c:pt idx="719">
                  <c:v>122.02</c:v>
                </c:pt>
                <c:pt idx="720">
                  <c:v>122.17</c:v>
                </c:pt>
                <c:pt idx="721">
                  <c:v>121.6</c:v>
                </c:pt>
                <c:pt idx="722">
                  <c:v>117.71</c:v>
                </c:pt>
                <c:pt idx="723">
                  <c:v>116.05</c:v>
                </c:pt>
                <c:pt idx="724">
                  <c:v>114.16</c:v>
                </c:pt>
                <c:pt idx="725">
                  <c:v>115.56</c:v>
                </c:pt>
                <c:pt idx="726">
                  <c:v>117.83</c:v>
                </c:pt>
                <c:pt idx="727">
                  <c:v>118.74</c:v>
                </c:pt>
                <c:pt idx="728">
                  <c:v>118.02</c:v>
                </c:pt>
                <c:pt idx="729">
                  <c:v>119.09</c:v>
                </c:pt>
                <c:pt idx="730">
                  <c:v>118.46</c:v>
                </c:pt>
                <c:pt idx="731">
                  <c:v>117.28</c:v>
                </c:pt>
                <c:pt idx="732">
                  <c:v>120.38</c:v>
                </c:pt>
                <c:pt idx="733">
                  <c:v>118.49</c:v>
                </c:pt>
                <c:pt idx="734">
                  <c:v>120.61</c:v>
                </c:pt>
                <c:pt idx="735">
                  <c:v>121.43</c:v>
                </c:pt>
                <c:pt idx="736">
                  <c:v>121.4</c:v>
                </c:pt>
                <c:pt idx="737">
                  <c:v>122.29</c:v>
                </c:pt>
                <c:pt idx="738">
                  <c:v>121.93</c:v>
                </c:pt>
                <c:pt idx="739">
                  <c:v>122.53</c:v>
                </c:pt>
                <c:pt idx="740">
                  <c:v>121.72</c:v>
                </c:pt>
                <c:pt idx="741">
                  <c:v>122.37</c:v>
                </c:pt>
                <c:pt idx="742">
                  <c:v>123.91</c:v>
                </c:pt>
                <c:pt idx="743">
                  <c:v>123.82</c:v>
                </c:pt>
                <c:pt idx="744">
                  <c:v>124.01</c:v>
                </c:pt>
                <c:pt idx="745">
                  <c:v>123.91</c:v>
                </c:pt>
                <c:pt idx="746">
                  <c:v>125.18</c:v>
                </c:pt>
                <c:pt idx="747">
                  <c:v>124.83</c:v>
                </c:pt>
                <c:pt idx="748">
                  <c:v>124.7</c:v>
                </c:pt>
                <c:pt idx="749">
                  <c:v>124.72</c:v>
                </c:pt>
                <c:pt idx="750">
                  <c:v>125.39</c:v>
                </c:pt>
                <c:pt idx="751">
                  <c:v>125.62</c:v>
                </c:pt>
                <c:pt idx="752">
                  <c:v>127.54</c:v>
                </c:pt>
                <c:pt idx="753">
                  <c:v>127.68</c:v>
                </c:pt>
                <c:pt idx="754">
                  <c:v>127.72</c:v>
                </c:pt>
                <c:pt idx="755">
                  <c:v>126.99</c:v>
                </c:pt>
                <c:pt idx="756">
                  <c:v>126.99</c:v>
                </c:pt>
                <c:pt idx="757">
                  <c:v>128.15</c:v>
                </c:pt>
                <c:pt idx="758">
                  <c:v>128.74</c:v>
                </c:pt>
                <c:pt idx="759">
                  <c:v>128.86000000000001</c:v>
                </c:pt>
                <c:pt idx="760">
                  <c:v>129.52000000000001</c:v>
                </c:pt>
                <c:pt idx="761">
                  <c:v>130.03</c:v>
                </c:pt>
                <c:pt idx="762">
                  <c:v>129.22</c:v>
                </c:pt>
                <c:pt idx="763">
                  <c:v>129.9</c:v>
                </c:pt>
                <c:pt idx="764">
                  <c:v>128.76</c:v>
                </c:pt>
                <c:pt idx="765">
                  <c:v>127.23</c:v>
                </c:pt>
                <c:pt idx="766">
                  <c:v>126.82</c:v>
                </c:pt>
                <c:pt idx="767">
                  <c:v>128.54</c:v>
                </c:pt>
                <c:pt idx="768">
                  <c:v>129.05000000000001</c:v>
                </c:pt>
                <c:pt idx="769">
                  <c:v>128.69999999999999</c:v>
                </c:pt>
                <c:pt idx="770">
                  <c:v>125.61</c:v>
                </c:pt>
                <c:pt idx="771">
                  <c:v>125.14</c:v>
                </c:pt>
                <c:pt idx="772">
                  <c:v>125.94</c:v>
                </c:pt>
                <c:pt idx="773">
                  <c:v>124.43</c:v>
                </c:pt>
                <c:pt idx="774">
                  <c:v>126.6</c:v>
                </c:pt>
                <c:pt idx="775">
                  <c:v>126.14</c:v>
                </c:pt>
                <c:pt idx="776">
                  <c:v>126.24</c:v>
                </c:pt>
                <c:pt idx="777">
                  <c:v>127.09</c:v>
                </c:pt>
                <c:pt idx="778">
                  <c:v>128.01</c:v>
                </c:pt>
                <c:pt idx="779">
                  <c:v>128.02000000000001</c:v>
                </c:pt>
                <c:pt idx="780">
                  <c:v>130.24</c:v>
                </c:pt>
                <c:pt idx="781">
                  <c:v>130.76</c:v>
                </c:pt>
                <c:pt idx="782">
                  <c:v>130.69999999999999</c:v>
                </c:pt>
                <c:pt idx="783">
                  <c:v>130.91999999999999</c:v>
                </c:pt>
                <c:pt idx="784">
                  <c:v>132.16</c:v>
                </c:pt>
                <c:pt idx="785">
                  <c:v>131.91999999999999</c:v>
                </c:pt>
                <c:pt idx="786">
                  <c:v>132.66999999999999</c:v>
                </c:pt>
                <c:pt idx="787">
                  <c:v>133.61000000000001</c:v>
                </c:pt>
                <c:pt idx="788">
                  <c:v>133.44</c:v>
                </c:pt>
                <c:pt idx="789">
                  <c:v>132.63</c:v>
                </c:pt>
                <c:pt idx="790">
                  <c:v>133.29</c:v>
                </c:pt>
                <c:pt idx="791">
                  <c:v>133.36000000000001</c:v>
                </c:pt>
                <c:pt idx="792">
                  <c:v>133.16999999999999</c:v>
                </c:pt>
                <c:pt idx="793">
                  <c:v>132.93</c:v>
                </c:pt>
                <c:pt idx="794">
                  <c:v>131.91</c:v>
                </c:pt>
                <c:pt idx="795">
                  <c:v>133.62</c:v>
                </c:pt>
                <c:pt idx="796">
                  <c:v>132.97999999999999</c:v>
                </c:pt>
                <c:pt idx="797">
                  <c:v>132.33000000000001</c:v>
                </c:pt>
                <c:pt idx="798">
                  <c:v>133.22999999999999</c:v>
                </c:pt>
                <c:pt idx="799">
                  <c:v>132.97</c:v>
                </c:pt>
                <c:pt idx="800">
                  <c:v>132.21</c:v>
                </c:pt>
                <c:pt idx="801">
                  <c:v>132.02000000000001</c:v>
                </c:pt>
                <c:pt idx="802">
                  <c:v>134.66999999999999</c:v>
                </c:pt>
                <c:pt idx="803">
                  <c:v>134.94999999999999</c:v>
                </c:pt>
                <c:pt idx="804">
                  <c:v>135.02000000000001</c:v>
                </c:pt>
                <c:pt idx="805">
                  <c:v>136.28</c:v>
                </c:pt>
                <c:pt idx="806">
                  <c:v>136.79</c:v>
                </c:pt>
                <c:pt idx="807">
                  <c:v>136.61000000000001</c:v>
                </c:pt>
                <c:pt idx="808">
                  <c:v>137.80000000000001</c:v>
                </c:pt>
                <c:pt idx="809">
                  <c:v>137.9</c:v>
                </c:pt>
                <c:pt idx="810">
                  <c:v>138.51</c:v>
                </c:pt>
                <c:pt idx="811">
                  <c:v>137.31</c:v>
                </c:pt>
                <c:pt idx="812">
                  <c:v>138.05000000000001</c:v>
                </c:pt>
                <c:pt idx="813">
                  <c:v>137.66</c:v>
                </c:pt>
                <c:pt idx="814">
                  <c:v>137.15</c:v>
                </c:pt>
                <c:pt idx="815">
                  <c:v>138.24</c:v>
                </c:pt>
                <c:pt idx="816">
                  <c:v>138.06</c:v>
                </c:pt>
                <c:pt idx="817">
                  <c:v>139.03</c:v>
                </c:pt>
                <c:pt idx="818">
                  <c:v>138.44</c:v>
                </c:pt>
                <c:pt idx="819">
                  <c:v>138.97999999999999</c:v>
                </c:pt>
                <c:pt idx="820">
                  <c:v>138.15</c:v>
                </c:pt>
                <c:pt idx="821">
                  <c:v>139.19999999999999</c:v>
                </c:pt>
                <c:pt idx="822">
                  <c:v>138.78</c:v>
                </c:pt>
                <c:pt idx="823">
                  <c:v>138.53</c:v>
                </c:pt>
                <c:pt idx="824">
                  <c:v>139.34</c:v>
                </c:pt>
                <c:pt idx="825">
                  <c:v>138.6</c:v>
                </c:pt>
                <c:pt idx="826">
                  <c:v>137.94</c:v>
                </c:pt>
                <c:pt idx="827">
                  <c:v>139.15</c:v>
                </c:pt>
                <c:pt idx="828">
                  <c:v>139.29</c:v>
                </c:pt>
                <c:pt idx="829">
                  <c:v>140.31</c:v>
                </c:pt>
                <c:pt idx="830">
                  <c:v>139.11000000000001</c:v>
                </c:pt>
                <c:pt idx="831">
                  <c:v>138.94</c:v>
                </c:pt>
                <c:pt idx="832">
                  <c:v>138.84</c:v>
                </c:pt>
                <c:pt idx="833">
                  <c:v>139.31</c:v>
                </c:pt>
                <c:pt idx="834">
                  <c:v>140.06</c:v>
                </c:pt>
                <c:pt idx="835">
                  <c:v>139.62</c:v>
                </c:pt>
                <c:pt idx="836">
                  <c:v>140.44999999999999</c:v>
                </c:pt>
                <c:pt idx="837">
                  <c:v>140.94</c:v>
                </c:pt>
                <c:pt idx="838">
                  <c:v>140.84</c:v>
                </c:pt>
                <c:pt idx="839">
                  <c:v>140.37</c:v>
                </c:pt>
                <c:pt idx="840">
                  <c:v>137.59</c:v>
                </c:pt>
                <c:pt idx="841">
                  <c:v>136.71</c:v>
                </c:pt>
                <c:pt idx="842">
                  <c:v>135.30000000000001</c:v>
                </c:pt>
                <c:pt idx="843">
                  <c:v>136.29</c:v>
                </c:pt>
                <c:pt idx="844">
                  <c:v>136.77000000000001</c:v>
                </c:pt>
                <c:pt idx="845">
                  <c:v>135.80000000000001</c:v>
                </c:pt>
                <c:pt idx="846">
                  <c:v>135.18</c:v>
                </c:pt>
                <c:pt idx="847">
                  <c:v>134.16999999999999</c:v>
                </c:pt>
                <c:pt idx="848">
                  <c:v>133.91</c:v>
                </c:pt>
                <c:pt idx="849">
                  <c:v>136.08000000000001</c:v>
                </c:pt>
                <c:pt idx="850">
                  <c:v>134.74</c:v>
                </c:pt>
                <c:pt idx="851">
                  <c:v>136.06</c:v>
                </c:pt>
                <c:pt idx="852">
                  <c:v>138.37</c:v>
                </c:pt>
                <c:pt idx="853">
                  <c:v>139.16</c:v>
                </c:pt>
                <c:pt idx="854">
                  <c:v>140.18</c:v>
                </c:pt>
                <c:pt idx="855">
                  <c:v>140.37</c:v>
                </c:pt>
                <c:pt idx="856">
                  <c:v>141.99</c:v>
                </c:pt>
                <c:pt idx="857">
                  <c:v>141.72</c:v>
                </c:pt>
                <c:pt idx="858">
                  <c:v>142.03</c:v>
                </c:pt>
                <c:pt idx="859">
                  <c:v>140.30000000000001</c:v>
                </c:pt>
                <c:pt idx="860">
                  <c:v>141.03</c:v>
                </c:pt>
                <c:pt idx="861">
                  <c:v>140.91999999999999</c:v>
                </c:pt>
                <c:pt idx="862">
                  <c:v>142.49</c:v>
                </c:pt>
                <c:pt idx="863">
                  <c:v>142.72</c:v>
                </c:pt>
                <c:pt idx="864">
                  <c:v>142.06</c:v>
                </c:pt>
                <c:pt idx="865">
                  <c:v>142.68</c:v>
                </c:pt>
                <c:pt idx="866">
                  <c:v>143.32</c:v>
                </c:pt>
                <c:pt idx="867">
                  <c:v>143.52000000000001</c:v>
                </c:pt>
                <c:pt idx="868">
                  <c:v>145.59</c:v>
                </c:pt>
                <c:pt idx="869">
                  <c:v>145.06</c:v>
                </c:pt>
                <c:pt idx="870">
                  <c:v>145.32</c:v>
                </c:pt>
                <c:pt idx="871">
                  <c:v>145.16</c:v>
                </c:pt>
                <c:pt idx="872">
                  <c:v>145.02000000000001</c:v>
                </c:pt>
                <c:pt idx="873">
                  <c:v>144.91</c:v>
                </c:pt>
                <c:pt idx="874">
                  <c:v>143.63999999999999</c:v>
                </c:pt>
                <c:pt idx="875">
                  <c:v>139.87</c:v>
                </c:pt>
                <c:pt idx="876">
                  <c:v>139</c:v>
                </c:pt>
                <c:pt idx="877">
                  <c:v>140.21</c:v>
                </c:pt>
                <c:pt idx="878">
                  <c:v>139.41</c:v>
                </c:pt>
                <c:pt idx="879">
                  <c:v>139.84</c:v>
                </c:pt>
                <c:pt idx="880">
                  <c:v>139.15</c:v>
                </c:pt>
                <c:pt idx="881">
                  <c:v>137.21</c:v>
                </c:pt>
                <c:pt idx="882">
                  <c:v>137.21</c:v>
                </c:pt>
                <c:pt idx="883">
                  <c:v>137.33000000000001</c:v>
                </c:pt>
                <c:pt idx="884">
                  <c:v>139.75</c:v>
                </c:pt>
                <c:pt idx="885">
                  <c:v>140.76</c:v>
                </c:pt>
                <c:pt idx="886">
                  <c:v>140.72</c:v>
                </c:pt>
                <c:pt idx="887">
                  <c:v>142.66</c:v>
                </c:pt>
                <c:pt idx="888">
                  <c:v>143.47999999999999</c:v>
                </c:pt>
                <c:pt idx="889">
                  <c:v>143.69</c:v>
                </c:pt>
                <c:pt idx="890">
                  <c:v>144.62</c:v>
                </c:pt>
                <c:pt idx="891">
                  <c:v>144.82</c:v>
                </c:pt>
                <c:pt idx="892">
                  <c:v>144.66999999999999</c:v>
                </c:pt>
                <c:pt idx="893">
                  <c:v>144.77000000000001</c:v>
                </c:pt>
                <c:pt idx="894">
                  <c:v>144.66</c:v>
                </c:pt>
                <c:pt idx="895">
                  <c:v>145.21</c:v>
                </c:pt>
                <c:pt idx="896">
                  <c:v>146.24</c:v>
                </c:pt>
                <c:pt idx="897">
                  <c:v>146.30000000000001</c:v>
                </c:pt>
                <c:pt idx="898">
                  <c:v>145.78</c:v>
                </c:pt>
                <c:pt idx="899">
                  <c:v>145.33000000000001</c:v>
                </c:pt>
                <c:pt idx="900">
                  <c:v>146.03</c:v>
                </c:pt>
                <c:pt idx="901">
                  <c:v>141.88999999999999</c:v>
                </c:pt>
                <c:pt idx="902">
                  <c:v>145.38999999999999</c:v>
                </c:pt>
                <c:pt idx="903">
                  <c:v>145.53</c:v>
                </c:pt>
                <c:pt idx="904">
                  <c:v>146.21</c:v>
                </c:pt>
                <c:pt idx="905">
                  <c:v>144.19999999999999</c:v>
                </c:pt>
                <c:pt idx="906">
                  <c:v>143.88999999999999</c:v>
                </c:pt>
                <c:pt idx="907">
                  <c:v>143.91</c:v>
                </c:pt>
                <c:pt idx="908">
                  <c:v>142.47</c:v>
                </c:pt>
                <c:pt idx="909">
                  <c:v>140.53</c:v>
                </c:pt>
                <c:pt idx="910">
                  <c:v>139.69999999999999</c:v>
                </c:pt>
                <c:pt idx="911">
                  <c:v>141.72</c:v>
                </c:pt>
                <c:pt idx="912">
                  <c:v>142.91999999999999</c:v>
                </c:pt>
                <c:pt idx="913">
                  <c:v>142.91999999999999</c:v>
                </c:pt>
                <c:pt idx="914">
                  <c:v>143.25</c:v>
                </c:pt>
                <c:pt idx="915">
                  <c:v>143.38</c:v>
                </c:pt>
                <c:pt idx="916">
                  <c:v>141.47</c:v>
                </c:pt>
                <c:pt idx="917">
                  <c:v>143.33000000000001</c:v>
                </c:pt>
                <c:pt idx="918">
                  <c:v>144.93</c:v>
                </c:pt>
                <c:pt idx="919">
                  <c:v>145.03</c:v>
                </c:pt>
                <c:pt idx="920">
                  <c:v>146.62</c:v>
                </c:pt>
                <c:pt idx="921">
                  <c:v>146.62</c:v>
                </c:pt>
                <c:pt idx="922">
                  <c:v>147.9</c:v>
                </c:pt>
                <c:pt idx="923">
                  <c:v>147.9</c:v>
                </c:pt>
                <c:pt idx="924">
                  <c:v>148.53</c:v>
                </c:pt>
                <c:pt idx="925">
                  <c:v>149.53</c:v>
                </c:pt>
                <c:pt idx="926">
                  <c:v>147.63999999999999</c:v>
                </c:pt>
                <c:pt idx="927">
                  <c:v>146.82</c:v>
                </c:pt>
                <c:pt idx="928">
                  <c:v>147.33000000000001</c:v>
                </c:pt>
                <c:pt idx="929">
                  <c:v>146.24</c:v>
                </c:pt>
                <c:pt idx="930">
                  <c:v>144.4</c:v>
                </c:pt>
                <c:pt idx="931">
                  <c:v>144.63</c:v>
                </c:pt>
                <c:pt idx="932">
                  <c:v>142.84</c:v>
                </c:pt>
                <c:pt idx="933">
                  <c:v>145.21</c:v>
                </c:pt>
                <c:pt idx="934">
                  <c:v>146.02000000000001</c:v>
                </c:pt>
                <c:pt idx="935">
                  <c:v>148.13999999999999</c:v>
                </c:pt>
                <c:pt idx="936">
                  <c:v>147.22999999999999</c:v>
                </c:pt>
                <c:pt idx="937">
                  <c:v>147.69999999999999</c:v>
                </c:pt>
                <c:pt idx="938">
                  <c:v>145.97999999999999</c:v>
                </c:pt>
                <c:pt idx="939">
                  <c:v>146.38999999999999</c:v>
                </c:pt>
                <c:pt idx="940">
                  <c:v>148.29</c:v>
                </c:pt>
                <c:pt idx="941">
                  <c:v>148.1</c:v>
                </c:pt>
                <c:pt idx="942">
                  <c:v>148.1</c:v>
                </c:pt>
                <c:pt idx="943">
                  <c:v>147.72</c:v>
                </c:pt>
                <c:pt idx="944">
                  <c:v>147.55000000000001</c:v>
                </c:pt>
                <c:pt idx="945">
                  <c:v>146.76</c:v>
                </c:pt>
                <c:pt idx="946">
                  <c:v>147.06</c:v>
                </c:pt>
                <c:pt idx="947">
                  <c:v>149.03</c:v>
                </c:pt>
                <c:pt idx="948">
                  <c:v>148.22</c:v>
                </c:pt>
                <c:pt idx="949">
                  <c:v>149.57</c:v>
                </c:pt>
                <c:pt idx="950">
                  <c:v>149.78</c:v>
                </c:pt>
                <c:pt idx="951">
                  <c:v>149.66</c:v>
                </c:pt>
                <c:pt idx="952">
                  <c:v>147.41</c:v>
                </c:pt>
                <c:pt idx="953">
                  <c:v>147.63999999999999</c:v>
                </c:pt>
                <c:pt idx="954">
                  <c:v>147.99</c:v>
                </c:pt>
                <c:pt idx="955">
                  <c:v>148.03</c:v>
                </c:pt>
                <c:pt idx="956">
                  <c:v>148.91</c:v>
                </c:pt>
                <c:pt idx="957">
                  <c:v>149.15</c:v>
                </c:pt>
                <c:pt idx="958">
                  <c:v>149.94</c:v>
                </c:pt>
                <c:pt idx="959">
                  <c:v>151.74</c:v>
                </c:pt>
                <c:pt idx="960">
                  <c:v>152.02000000000001</c:v>
                </c:pt>
                <c:pt idx="961">
                  <c:v>152.24</c:v>
                </c:pt>
                <c:pt idx="962">
                  <c:v>152.22</c:v>
                </c:pt>
                <c:pt idx="963">
                  <c:v>152.38</c:v>
                </c:pt>
                <c:pt idx="964">
                  <c:v>152.74</c:v>
                </c:pt>
                <c:pt idx="965">
                  <c:v>152.15</c:v>
                </c:pt>
                <c:pt idx="966">
                  <c:v>152.16</c:v>
                </c:pt>
                <c:pt idx="967">
                  <c:v>153.43</c:v>
                </c:pt>
                <c:pt idx="968">
                  <c:v>154.77000000000001</c:v>
                </c:pt>
                <c:pt idx="969">
                  <c:v>155.32</c:v>
                </c:pt>
                <c:pt idx="970">
                  <c:v>155.63999999999999</c:v>
                </c:pt>
                <c:pt idx="971">
                  <c:v>154.38</c:v>
                </c:pt>
                <c:pt idx="972">
                  <c:v>154.34</c:v>
                </c:pt>
                <c:pt idx="973">
                  <c:v>153.94999999999999</c:v>
                </c:pt>
                <c:pt idx="974">
                  <c:v>153.1</c:v>
                </c:pt>
                <c:pt idx="975">
                  <c:v>153.83000000000001</c:v>
                </c:pt>
                <c:pt idx="976">
                  <c:v>153.93</c:v>
                </c:pt>
                <c:pt idx="977">
                  <c:v>155.02000000000001</c:v>
                </c:pt>
                <c:pt idx="978">
                  <c:v>154.47</c:v>
                </c:pt>
                <c:pt idx="979">
                  <c:v>153.52000000000001</c:v>
                </c:pt>
                <c:pt idx="980">
                  <c:v>153.33000000000001</c:v>
                </c:pt>
                <c:pt idx="981">
                  <c:v>151.82</c:v>
                </c:pt>
                <c:pt idx="982">
                  <c:v>151.32</c:v>
                </c:pt>
                <c:pt idx="983">
                  <c:v>151.22</c:v>
                </c:pt>
                <c:pt idx="984">
                  <c:v>151.08000000000001</c:v>
                </c:pt>
                <c:pt idx="985">
                  <c:v>152.38</c:v>
                </c:pt>
                <c:pt idx="986">
                  <c:v>152.38999999999999</c:v>
                </c:pt>
                <c:pt idx="987">
                  <c:v>154.03</c:v>
                </c:pt>
                <c:pt idx="988">
                  <c:v>153.16</c:v>
                </c:pt>
                <c:pt idx="989">
                  <c:v>151.4</c:v>
                </c:pt>
                <c:pt idx="990">
                  <c:v>149.02000000000001</c:v>
                </c:pt>
                <c:pt idx="991">
                  <c:v>149.53</c:v>
                </c:pt>
                <c:pt idx="992">
                  <c:v>147.30000000000001</c:v>
                </c:pt>
                <c:pt idx="993">
                  <c:v>147.57</c:v>
                </c:pt>
                <c:pt idx="994">
                  <c:v>148.91</c:v>
                </c:pt>
                <c:pt idx="995">
                  <c:v>147.6</c:v>
                </c:pt>
                <c:pt idx="996">
                  <c:v>149.91999999999999</c:v>
                </c:pt>
                <c:pt idx="997">
                  <c:v>148.16999999999999</c:v>
                </c:pt>
                <c:pt idx="998">
                  <c:v>148.26</c:v>
                </c:pt>
                <c:pt idx="999">
                  <c:v>147.16999999999999</c:v>
                </c:pt>
                <c:pt idx="1000">
                  <c:v>149.16</c:v>
                </c:pt>
                <c:pt idx="1001">
                  <c:v>149.46</c:v>
                </c:pt>
                <c:pt idx="1002">
                  <c:v>150.80000000000001</c:v>
                </c:pt>
                <c:pt idx="1003">
                  <c:v>148.99</c:v>
                </c:pt>
                <c:pt idx="1004">
                  <c:v>148.69999999999999</c:v>
                </c:pt>
                <c:pt idx="1005">
                  <c:v>149.38999999999999</c:v>
                </c:pt>
                <c:pt idx="1006">
                  <c:v>148.47</c:v>
                </c:pt>
                <c:pt idx="1007">
                  <c:v>145.99</c:v>
                </c:pt>
                <c:pt idx="1008">
                  <c:v>143.85</c:v>
                </c:pt>
                <c:pt idx="1009">
                  <c:v>143.68</c:v>
                </c:pt>
                <c:pt idx="1010">
                  <c:v>143.57</c:v>
                </c:pt>
                <c:pt idx="1011">
                  <c:v>142.30000000000001</c:v>
                </c:pt>
                <c:pt idx="1012">
                  <c:v>140.74</c:v>
                </c:pt>
                <c:pt idx="1013">
                  <c:v>140.32</c:v>
                </c:pt>
                <c:pt idx="1014">
                  <c:v>142.38</c:v>
                </c:pt>
                <c:pt idx="1015">
                  <c:v>141.56</c:v>
                </c:pt>
                <c:pt idx="1016">
                  <c:v>142.76</c:v>
                </c:pt>
                <c:pt idx="1017">
                  <c:v>143.02000000000001</c:v>
                </c:pt>
                <c:pt idx="1018">
                  <c:v>142.03</c:v>
                </c:pt>
                <c:pt idx="1019">
                  <c:v>143.85</c:v>
                </c:pt>
                <c:pt idx="1020">
                  <c:v>144.77000000000001</c:v>
                </c:pt>
                <c:pt idx="1021">
                  <c:v>144.59</c:v>
                </c:pt>
                <c:pt idx="1022">
                  <c:v>146.24</c:v>
                </c:pt>
                <c:pt idx="1023">
                  <c:v>145.37</c:v>
                </c:pt>
                <c:pt idx="1024">
                  <c:v>147.91999999999999</c:v>
                </c:pt>
                <c:pt idx="1025">
                  <c:v>149.33000000000001</c:v>
                </c:pt>
                <c:pt idx="1026">
                  <c:v>149.44999999999999</c:v>
                </c:pt>
                <c:pt idx="1027">
                  <c:v>148.02000000000001</c:v>
                </c:pt>
                <c:pt idx="1028">
                  <c:v>148.36000000000001</c:v>
                </c:pt>
                <c:pt idx="1029">
                  <c:v>148.36000000000001</c:v>
                </c:pt>
                <c:pt idx="1030">
                  <c:v>148.62</c:v>
                </c:pt>
                <c:pt idx="1031">
                  <c:v>150.25</c:v>
                </c:pt>
                <c:pt idx="1032">
                  <c:v>152.55000000000001</c:v>
                </c:pt>
                <c:pt idx="1033">
                  <c:v>152.59</c:v>
                </c:pt>
                <c:pt idx="1034">
                  <c:v>152.30000000000001</c:v>
                </c:pt>
                <c:pt idx="1035">
                  <c:v>151.37</c:v>
                </c:pt>
                <c:pt idx="1036">
                  <c:v>151.16999999999999</c:v>
                </c:pt>
                <c:pt idx="1037">
                  <c:v>150.88999999999999</c:v>
                </c:pt>
                <c:pt idx="1038">
                  <c:v>150.74</c:v>
                </c:pt>
                <c:pt idx="1039">
                  <c:v>150.44</c:v>
                </c:pt>
                <c:pt idx="1040">
                  <c:v>149.80000000000001</c:v>
                </c:pt>
                <c:pt idx="1041">
                  <c:v>150.62</c:v>
                </c:pt>
                <c:pt idx="1042">
                  <c:v>151.94</c:v>
                </c:pt>
                <c:pt idx="1043">
                  <c:v>152.03</c:v>
                </c:pt>
                <c:pt idx="1044">
                  <c:v>151.24</c:v>
                </c:pt>
                <c:pt idx="1045">
                  <c:v>149</c:v>
                </c:pt>
                <c:pt idx="1046">
                  <c:v>150.25</c:v>
                </c:pt>
                <c:pt idx="1047">
                  <c:v>148.56</c:v>
                </c:pt>
                <c:pt idx="1048">
                  <c:v>149.31</c:v>
                </c:pt>
                <c:pt idx="1049">
                  <c:v>148.13</c:v>
                </c:pt>
                <c:pt idx="1050">
                  <c:v>149.61000000000001</c:v>
                </c:pt>
                <c:pt idx="1051">
                  <c:v>148.19999999999999</c:v>
                </c:pt>
                <c:pt idx="1052">
                  <c:v>144.43</c:v>
                </c:pt>
                <c:pt idx="1053">
                  <c:v>145.61000000000001</c:v>
                </c:pt>
                <c:pt idx="1054">
                  <c:v>145.97999999999999</c:v>
                </c:pt>
                <c:pt idx="1055">
                  <c:v>143.54</c:v>
                </c:pt>
                <c:pt idx="1056">
                  <c:v>142.16999999999999</c:v>
                </c:pt>
                <c:pt idx="1057">
                  <c:v>141.59</c:v>
                </c:pt>
                <c:pt idx="1058">
                  <c:v>139.26</c:v>
                </c:pt>
                <c:pt idx="1059">
                  <c:v>139.33000000000001</c:v>
                </c:pt>
                <c:pt idx="1060">
                  <c:v>139.57</c:v>
                </c:pt>
                <c:pt idx="1061">
                  <c:v>134.86000000000001</c:v>
                </c:pt>
                <c:pt idx="1062">
                  <c:v>134.06</c:v>
                </c:pt>
                <c:pt idx="1063">
                  <c:v>138.15</c:v>
                </c:pt>
                <c:pt idx="1064">
                  <c:v>137.01</c:v>
                </c:pt>
                <c:pt idx="1065">
                  <c:v>140.15</c:v>
                </c:pt>
                <c:pt idx="1066">
                  <c:v>141.11000000000001</c:v>
                </c:pt>
                <c:pt idx="1067">
                  <c:v>142.47</c:v>
                </c:pt>
                <c:pt idx="1068">
                  <c:v>141.91999999999999</c:v>
                </c:pt>
                <c:pt idx="1069">
                  <c:v>140.55000000000001</c:v>
                </c:pt>
                <c:pt idx="1070">
                  <c:v>142.47</c:v>
                </c:pt>
                <c:pt idx="1071">
                  <c:v>142.01</c:v>
                </c:pt>
                <c:pt idx="1072">
                  <c:v>142.66</c:v>
                </c:pt>
                <c:pt idx="1073">
                  <c:v>145.71</c:v>
                </c:pt>
                <c:pt idx="1074">
                  <c:v>144.54</c:v>
                </c:pt>
                <c:pt idx="1075">
                  <c:v>142.63999999999999</c:v>
                </c:pt>
                <c:pt idx="1076">
                  <c:v>145.05000000000001</c:v>
                </c:pt>
                <c:pt idx="1077">
                  <c:v>145.52000000000001</c:v>
                </c:pt>
                <c:pt idx="1078">
                  <c:v>144.11000000000001</c:v>
                </c:pt>
                <c:pt idx="1079">
                  <c:v>145.32</c:v>
                </c:pt>
                <c:pt idx="1080">
                  <c:v>145.82</c:v>
                </c:pt>
                <c:pt idx="1081">
                  <c:v>143.51</c:v>
                </c:pt>
                <c:pt idx="1082">
                  <c:v>143.94</c:v>
                </c:pt>
                <c:pt idx="1083">
                  <c:v>144.22</c:v>
                </c:pt>
                <c:pt idx="1084">
                  <c:v>145.22</c:v>
                </c:pt>
                <c:pt idx="1085">
                  <c:v>146.80000000000001</c:v>
                </c:pt>
                <c:pt idx="1086">
                  <c:v>147</c:v>
                </c:pt>
                <c:pt idx="1087">
                  <c:v>146.24</c:v>
                </c:pt>
                <c:pt idx="1088">
                  <c:v>150.05000000000001</c:v>
                </c:pt>
                <c:pt idx="1089">
                  <c:v>150.85</c:v>
                </c:pt>
                <c:pt idx="1090">
                  <c:v>151.55000000000001</c:v>
                </c:pt>
                <c:pt idx="1091">
                  <c:v>151.53</c:v>
                </c:pt>
                <c:pt idx="1092">
                  <c:v>152.37</c:v>
                </c:pt>
                <c:pt idx="1093">
                  <c:v>152.54</c:v>
                </c:pt>
                <c:pt idx="1094">
                  <c:v>151.85</c:v>
                </c:pt>
                <c:pt idx="1095">
                  <c:v>152.22</c:v>
                </c:pt>
                <c:pt idx="1096">
                  <c:v>152.85</c:v>
                </c:pt>
                <c:pt idx="1097">
                  <c:v>150.71</c:v>
                </c:pt>
                <c:pt idx="1098">
                  <c:v>154.22</c:v>
                </c:pt>
                <c:pt idx="1099">
                  <c:v>153.08000000000001</c:v>
                </c:pt>
                <c:pt idx="1100">
                  <c:v>149.24</c:v>
                </c:pt>
                <c:pt idx="1101">
                  <c:v>148.63</c:v>
                </c:pt>
                <c:pt idx="1102">
                  <c:v>148.82</c:v>
                </c:pt>
                <c:pt idx="1103">
                  <c:v>144.91</c:v>
                </c:pt>
                <c:pt idx="1104">
                  <c:v>141.43</c:v>
                </c:pt>
                <c:pt idx="1105">
                  <c:v>144.32</c:v>
                </c:pt>
                <c:pt idx="1106">
                  <c:v>144.25</c:v>
                </c:pt>
                <c:pt idx="1107">
                  <c:v>148.66</c:v>
                </c:pt>
                <c:pt idx="1108">
                  <c:v>148.47</c:v>
                </c:pt>
                <c:pt idx="1109">
                  <c:v>149.29</c:v>
                </c:pt>
                <c:pt idx="1110">
                  <c:v>150.88999999999999</c:v>
                </c:pt>
                <c:pt idx="1111">
                  <c:v>150.6</c:v>
                </c:pt>
                <c:pt idx="1112">
                  <c:v>150.54</c:v>
                </c:pt>
                <c:pt idx="1113">
                  <c:v>148.63999999999999</c:v>
                </c:pt>
                <c:pt idx="1114">
                  <c:v>149.09</c:v>
                </c:pt>
                <c:pt idx="1115">
                  <c:v>148.93</c:v>
                </c:pt>
                <c:pt idx="1116">
                  <c:v>144.34</c:v>
                </c:pt>
                <c:pt idx="1117">
                  <c:v>143.55000000000001</c:v>
                </c:pt>
                <c:pt idx="1118">
                  <c:v>144.19999999999999</c:v>
                </c:pt>
                <c:pt idx="1119">
                  <c:v>148.69999999999999</c:v>
                </c:pt>
                <c:pt idx="1120">
                  <c:v>145.63</c:v>
                </c:pt>
                <c:pt idx="1121">
                  <c:v>147.21</c:v>
                </c:pt>
                <c:pt idx="1122">
                  <c:v>149.47999999999999</c:v>
                </c:pt>
                <c:pt idx="1123">
                  <c:v>147.66999999999999</c:v>
                </c:pt>
                <c:pt idx="1124">
                  <c:v>150.52000000000001</c:v>
                </c:pt>
                <c:pt idx="1125">
                  <c:v>152.37</c:v>
                </c:pt>
                <c:pt idx="1126">
                  <c:v>153.54</c:v>
                </c:pt>
                <c:pt idx="1127">
                  <c:v>154.53</c:v>
                </c:pt>
                <c:pt idx="1128">
                  <c:v>155.66</c:v>
                </c:pt>
                <c:pt idx="1129">
                  <c:v>158.1</c:v>
                </c:pt>
                <c:pt idx="1130">
                  <c:v>160.74</c:v>
                </c:pt>
                <c:pt idx="1131">
                  <c:v>162.32</c:v>
                </c:pt>
                <c:pt idx="1132">
                  <c:v>160.43</c:v>
                </c:pt>
                <c:pt idx="1133">
                  <c:v>160.19999999999999</c:v>
                </c:pt>
                <c:pt idx="1134">
                  <c:v>160.69999999999999</c:v>
                </c:pt>
                <c:pt idx="1135">
                  <c:v>159.9</c:v>
                </c:pt>
                <c:pt idx="1136">
                  <c:v>160.47</c:v>
                </c:pt>
                <c:pt idx="1137">
                  <c:v>162.44999999999999</c:v>
                </c:pt>
                <c:pt idx="1138">
                  <c:v>162.74</c:v>
                </c:pt>
                <c:pt idx="1139">
                  <c:v>162.75</c:v>
                </c:pt>
                <c:pt idx="1140">
                  <c:v>162.33000000000001</c:v>
                </c:pt>
                <c:pt idx="1141">
                  <c:v>160.06</c:v>
                </c:pt>
                <c:pt idx="1142">
                  <c:v>161.79</c:v>
                </c:pt>
                <c:pt idx="1143">
                  <c:v>161.46</c:v>
                </c:pt>
                <c:pt idx="1144">
                  <c:v>163.69</c:v>
                </c:pt>
                <c:pt idx="1145">
                  <c:v>164.84</c:v>
                </c:pt>
                <c:pt idx="1146">
                  <c:v>164.29</c:v>
                </c:pt>
                <c:pt idx="1147">
                  <c:v>164.32</c:v>
                </c:pt>
                <c:pt idx="1148">
                  <c:v>165.85</c:v>
                </c:pt>
                <c:pt idx="1149">
                  <c:v>166.91</c:v>
                </c:pt>
                <c:pt idx="1150">
                  <c:v>167.06</c:v>
                </c:pt>
                <c:pt idx="1151">
                  <c:v>168.49</c:v>
                </c:pt>
                <c:pt idx="1152">
                  <c:v>169.6</c:v>
                </c:pt>
                <c:pt idx="1153">
                  <c:v>169.29</c:v>
                </c:pt>
                <c:pt idx="1154">
                  <c:v>170.74</c:v>
                </c:pt>
                <c:pt idx="1155">
                  <c:v>171.63</c:v>
                </c:pt>
                <c:pt idx="1156">
                  <c:v>171.45</c:v>
                </c:pt>
                <c:pt idx="1157">
                  <c:v>169.54</c:v>
                </c:pt>
                <c:pt idx="1158">
                  <c:v>170.84</c:v>
                </c:pt>
                <c:pt idx="1159">
                  <c:v>172.64</c:v>
                </c:pt>
                <c:pt idx="1160">
                  <c:v>172.94</c:v>
                </c:pt>
                <c:pt idx="1161">
                  <c:v>172.59</c:v>
                </c:pt>
                <c:pt idx="1162">
                  <c:v>170.93</c:v>
                </c:pt>
                <c:pt idx="1163">
                  <c:v>174.64</c:v>
                </c:pt>
                <c:pt idx="1164">
                  <c:v>174.56</c:v>
                </c:pt>
                <c:pt idx="1165">
                  <c:v>175.32</c:v>
                </c:pt>
                <c:pt idx="1166">
                  <c:v>177.53</c:v>
                </c:pt>
                <c:pt idx="1167">
                  <c:v>175.7</c:v>
                </c:pt>
                <c:pt idx="1168">
                  <c:v>175.47</c:v>
                </c:pt>
                <c:pt idx="1169">
                  <c:v>175.74</c:v>
                </c:pt>
                <c:pt idx="1170">
                  <c:v>177.93</c:v>
                </c:pt>
                <c:pt idx="1171">
                  <c:v>176.9</c:v>
                </c:pt>
                <c:pt idx="1172">
                  <c:v>178.3</c:v>
                </c:pt>
                <c:pt idx="1173">
                  <c:v>176.23</c:v>
                </c:pt>
                <c:pt idx="1174">
                  <c:v>175.32</c:v>
                </c:pt>
                <c:pt idx="1175">
                  <c:v>175.79</c:v>
                </c:pt>
                <c:pt idx="1176">
                  <c:v>178.25</c:v>
                </c:pt>
                <c:pt idx="1177">
                  <c:v>176.8</c:v>
                </c:pt>
                <c:pt idx="1178">
                  <c:v>177.62</c:v>
                </c:pt>
                <c:pt idx="1179">
                  <c:v>177.95</c:v>
                </c:pt>
                <c:pt idx="1180">
                  <c:v>180.44</c:v>
                </c:pt>
                <c:pt idx="1181">
                  <c:v>179.62</c:v>
                </c:pt>
                <c:pt idx="1182">
                  <c:v>181.66</c:v>
                </c:pt>
                <c:pt idx="1183">
                  <c:v>183.31</c:v>
                </c:pt>
                <c:pt idx="1184">
                  <c:v>183.75</c:v>
                </c:pt>
                <c:pt idx="1185">
                  <c:v>182.28</c:v>
                </c:pt>
                <c:pt idx="1186">
                  <c:v>182.98</c:v>
                </c:pt>
                <c:pt idx="1187">
                  <c:v>180.77</c:v>
                </c:pt>
                <c:pt idx="1188">
                  <c:v>177.13</c:v>
                </c:pt>
                <c:pt idx="1189">
                  <c:v>178.99</c:v>
                </c:pt>
                <c:pt idx="1190">
                  <c:v>179.76</c:v>
                </c:pt>
                <c:pt idx="1191">
                  <c:v>179.56</c:v>
                </c:pt>
                <c:pt idx="1192">
                  <c:v>178.41</c:v>
                </c:pt>
                <c:pt idx="1193">
                  <c:v>179.46</c:v>
                </c:pt>
                <c:pt idx="1194">
                  <c:v>182.07</c:v>
                </c:pt>
                <c:pt idx="1195">
                  <c:v>179.29</c:v>
                </c:pt>
                <c:pt idx="1196">
                  <c:v>174.53</c:v>
                </c:pt>
                <c:pt idx="1197">
                  <c:v>174.72</c:v>
                </c:pt>
                <c:pt idx="1198">
                  <c:v>174.74</c:v>
                </c:pt>
                <c:pt idx="1199">
                  <c:v>176.15</c:v>
                </c:pt>
                <c:pt idx="1200">
                  <c:v>172.23</c:v>
                </c:pt>
                <c:pt idx="1201">
                  <c:v>172.32</c:v>
                </c:pt>
                <c:pt idx="1202">
                  <c:v>172.86</c:v>
                </c:pt>
                <c:pt idx="1203">
                  <c:v>177.03</c:v>
                </c:pt>
                <c:pt idx="1204">
                  <c:v>176.72</c:v>
                </c:pt>
                <c:pt idx="1205">
                  <c:v>174.63</c:v>
                </c:pt>
                <c:pt idx="1206">
                  <c:v>174.2</c:v>
                </c:pt>
                <c:pt idx="1207">
                  <c:v>176.4</c:v>
                </c:pt>
                <c:pt idx="1208">
                  <c:v>175.51</c:v>
                </c:pt>
                <c:pt idx="1209">
                  <c:v>176.46</c:v>
                </c:pt>
                <c:pt idx="1210">
                  <c:v>180.03</c:v>
                </c:pt>
                <c:pt idx="1211">
                  <c:v>180.57</c:v>
                </c:pt>
                <c:pt idx="1212">
                  <c:v>180.8</c:v>
                </c:pt>
                <c:pt idx="1213">
                  <c:v>180.52</c:v>
                </c:pt>
                <c:pt idx="1214">
                  <c:v>179.39</c:v>
                </c:pt>
                <c:pt idx="1215">
                  <c:v>177.85</c:v>
                </c:pt>
                <c:pt idx="1216">
                  <c:v>180.72</c:v>
                </c:pt>
                <c:pt idx="1217">
                  <c:v>179.64</c:v>
                </c:pt>
                <c:pt idx="1218">
                  <c:v>176.17</c:v>
                </c:pt>
                <c:pt idx="1219">
                  <c:v>176.49</c:v>
                </c:pt>
                <c:pt idx="1220">
                  <c:v>175.76</c:v>
                </c:pt>
                <c:pt idx="1221">
                  <c:v>176.63</c:v>
                </c:pt>
                <c:pt idx="1222">
                  <c:v>175.17</c:v>
                </c:pt>
                <c:pt idx="1223">
                  <c:v>172.82</c:v>
                </c:pt>
                <c:pt idx="1224">
                  <c:v>170.99</c:v>
                </c:pt>
                <c:pt idx="1225">
                  <c:v>170.54</c:v>
                </c:pt>
                <c:pt idx="1226">
                  <c:v>173.77</c:v>
                </c:pt>
                <c:pt idx="1227">
                  <c:v>174.93</c:v>
                </c:pt>
                <c:pt idx="1228">
                  <c:v>172.7</c:v>
                </c:pt>
                <c:pt idx="1229">
                  <c:v>169.62</c:v>
                </c:pt>
                <c:pt idx="1230">
                  <c:v>170.48</c:v>
                </c:pt>
                <c:pt idx="1231">
                  <c:v>169.17</c:v>
                </c:pt>
                <c:pt idx="1232">
                  <c:v>170.21</c:v>
                </c:pt>
                <c:pt idx="1233">
                  <c:v>170.57</c:v>
                </c:pt>
                <c:pt idx="1234">
                  <c:v>176.66</c:v>
                </c:pt>
                <c:pt idx="1235">
                  <c:v>178.24</c:v>
                </c:pt>
                <c:pt idx="1236">
                  <c:v>177.38</c:v>
                </c:pt>
                <c:pt idx="1237">
                  <c:v>177.53</c:v>
                </c:pt>
                <c:pt idx="1238">
                  <c:v>178.13</c:v>
                </c:pt>
                <c:pt idx="1239">
                  <c:v>171.4</c:v>
                </c:pt>
                <c:pt idx="1240">
                  <c:v>169.34</c:v>
                </c:pt>
                <c:pt idx="1241">
                  <c:v>172.71</c:v>
                </c:pt>
                <c:pt idx="1242">
                  <c:v>171.18</c:v>
                </c:pt>
                <c:pt idx="1243">
                  <c:v>170.37</c:v>
                </c:pt>
                <c:pt idx="1244">
                  <c:v>167.05</c:v>
                </c:pt>
                <c:pt idx="1245">
                  <c:v>163.62</c:v>
                </c:pt>
                <c:pt idx="1246">
                  <c:v>164.92</c:v>
                </c:pt>
                <c:pt idx="1247">
                  <c:v>169.14</c:v>
                </c:pt>
                <c:pt idx="1248">
                  <c:v>173.98</c:v>
                </c:pt>
                <c:pt idx="1249">
                  <c:v>176.85</c:v>
                </c:pt>
                <c:pt idx="1250">
                  <c:v>177.47</c:v>
                </c:pt>
                <c:pt idx="1251">
                  <c:v>178.33</c:v>
                </c:pt>
                <c:pt idx="1252">
                  <c:v>180.86</c:v>
                </c:pt>
                <c:pt idx="1253">
                  <c:v>180.74</c:v>
                </c:pt>
                <c:pt idx="1254">
                  <c:v>181.76</c:v>
                </c:pt>
                <c:pt idx="1255">
                  <c:v>179.99</c:v>
                </c:pt>
                <c:pt idx="1256">
                  <c:v>179.31</c:v>
                </c:pt>
                <c:pt idx="1257">
                  <c:v>179.16</c:v>
                </c:pt>
                <c:pt idx="1258">
                  <c:v>177.53</c:v>
                </c:pt>
                <c:pt idx="1259">
                  <c:v>173.37</c:v>
                </c:pt>
                <c:pt idx="1260">
                  <c:v>175.24</c:v>
                </c:pt>
                <c:pt idx="1261">
                  <c:v>176.07</c:v>
                </c:pt>
                <c:pt idx="1262">
                  <c:v>177.36</c:v>
                </c:pt>
                <c:pt idx="1263">
                  <c:v>179.05</c:v>
                </c:pt>
                <c:pt idx="1264">
                  <c:v>178.64</c:v>
                </c:pt>
                <c:pt idx="1265">
                  <c:v>180.95</c:v>
                </c:pt>
                <c:pt idx="1266">
                  <c:v>180.46</c:v>
                </c:pt>
                <c:pt idx="1267">
                  <c:v>179.01</c:v>
                </c:pt>
                <c:pt idx="1268">
                  <c:v>180.61</c:v>
                </c:pt>
                <c:pt idx="1269">
                  <c:v>177.39</c:v>
                </c:pt>
                <c:pt idx="1270">
                  <c:v>171.86</c:v>
                </c:pt>
                <c:pt idx="1271">
                  <c:v>173.72</c:v>
                </c:pt>
                <c:pt idx="1272">
                  <c:v>173.01</c:v>
                </c:pt>
                <c:pt idx="1273">
                  <c:v>173.24</c:v>
                </c:pt>
                <c:pt idx="1274">
                  <c:v>173.33</c:v>
                </c:pt>
                <c:pt idx="1275">
                  <c:v>170.3</c:v>
                </c:pt>
                <c:pt idx="1276">
                  <c:v>166.49</c:v>
                </c:pt>
                <c:pt idx="1277">
                  <c:v>161.44</c:v>
                </c:pt>
                <c:pt idx="1278">
                  <c:v>153.30000000000001</c:v>
                </c:pt>
                <c:pt idx="1279">
                  <c:v>160.09</c:v>
                </c:pt>
                <c:pt idx="1280">
                  <c:v>158.07</c:v>
                </c:pt>
                <c:pt idx="1281">
                  <c:v>163.16</c:v>
                </c:pt>
                <c:pt idx="1282">
                  <c:v>163.31</c:v>
                </c:pt>
                <c:pt idx="1283">
                  <c:v>162.69</c:v>
                </c:pt>
                <c:pt idx="1284">
                  <c:v>158.82</c:v>
                </c:pt>
                <c:pt idx="1285">
                  <c:v>159.22999999999999</c:v>
                </c:pt>
                <c:pt idx="1286">
                  <c:v>162.74</c:v>
                </c:pt>
                <c:pt idx="1287">
                  <c:v>158.55000000000001</c:v>
                </c:pt>
                <c:pt idx="1288">
                  <c:v>159.34</c:v>
                </c:pt>
                <c:pt idx="1289">
                  <c:v>161.22</c:v>
                </c:pt>
                <c:pt idx="1290">
                  <c:v>163.01</c:v>
                </c:pt>
                <c:pt idx="1291">
                  <c:v>161.01</c:v>
                </c:pt>
                <c:pt idx="1292">
                  <c:v>159.38</c:v>
                </c:pt>
                <c:pt idx="1293">
                  <c:v>158.66</c:v>
                </c:pt>
                <c:pt idx="1294">
                  <c:v>160.05000000000001</c:v>
                </c:pt>
                <c:pt idx="1295">
                  <c:v>161.99</c:v>
                </c:pt>
                <c:pt idx="1296">
                  <c:v>162.37</c:v>
                </c:pt>
                <c:pt idx="1297">
                  <c:v>158.44</c:v>
                </c:pt>
                <c:pt idx="1298">
                  <c:v>159.63</c:v>
                </c:pt>
                <c:pt idx="1299">
                  <c:v>154.41</c:v>
                </c:pt>
                <c:pt idx="1300">
                  <c:v>154.56</c:v>
                </c:pt>
                <c:pt idx="1301">
                  <c:v>151.49</c:v>
                </c:pt>
                <c:pt idx="1302">
                  <c:v>155.91999999999999</c:v>
                </c:pt>
                <c:pt idx="1303">
                  <c:v>152.56</c:v>
                </c:pt>
                <c:pt idx="1304">
                  <c:v>151.94</c:v>
                </c:pt>
                <c:pt idx="1305">
                  <c:v>155.43</c:v>
                </c:pt>
              </c:numCache>
            </c:numRef>
          </c:val>
          <c:smooth val="0"/>
        </c:ser>
        <c:ser>
          <c:idx val="2"/>
          <c:order val="2"/>
          <c:tx>
            <c:strRef>
              <c:f>Sheet1!$D$1</c:f>
              <c:strCache>
                <c:ptCount val="1"/>
                <c:pt idx="0">
                  <c:v>Benchmark 2</c:v>
                </c:pt>
              </c:strCache>
            </c:strRef>
          </c:tx>
          <c:spPr>
            <a:ln w="19050">
              <a:solidFill>
                <a:srgbClr val="665C8C"/>
              </a:solidFill>
            </a:ln>
          </c:spPr>
          <c:marker>
            <c:symbol val="none"/>
          </c:marker>
          <c:cat>
            <c:strRef>
              <c:f>Sheet1!$A$2:$A$1247</c:f>
              <c:strCache>
                <c:ptCount val="1246"/>
                <c:pt idx="0">
                  <c:v>Nov-08 </c:v>
                </c:pt>
                <c:pt idx="1">
                  <c:v>Nov-08 </c:v>
                </c:pt>
                <c:pt idx="2">
                  <c:v>Nov-08 </c:v>
                </c:pt>
                <c:pt idx="3">
                  <c:v>Nov-08 </c:v>
                </c:pt>
                <c:pt idx="4">
                  <c:v>Nov-08 </c:v>
                </c:pt>
                <c:pt idx="5">
                  <c:v>Nov-08 </c:v>
                </c:pt>
                <c:pt idx="6">
                  <c:v>Nov-08 </c:v>
                </c:pt>
                <c:pt idx="7">
                  <c:v>Nov-08 </c:v>
                </c:pt>
                <c:pt idx="8">
                  <c:v>Nov-08 </c:v>
                </c:pt>
                <c:pt idx="9">
                  <c:v>Nov-08 </c:v>
                </c:pt>
                <c:pt idx="10">
                  <c:v>Dec-08</c:v>
                </c:pt>
                <c:pt idx="11">
                  <c:v>Dec-08</c:v>
                </c:pt>
                <c:pt idx="12">
                  <c:v>Dec-08</c:v>
                </c:pt>
                <c:pt idx="13">
                  <c:v>Dec-08</c:v>
                </c:pt>
                <c:pt idx="14">
                  <c:v>Dec-08</c:v>
                </c:pt>
                <c:pt idx="15">
                  <c:v>Dec-08</c:v>
                </c:pt>
                <c:pt idx="16">
                  <c:v>Dec-08</c:v>
                </c:pt>
                <c:pt idx="17">
                  <c:v>Dec-08</c:v>
                </c:pt>
                <c:pt idx="18">
                  <c:v>Dec-08</c:v>
                </c:pt>
                <c:pt idx="19">
                  <c:v>Dec-08</c:v>
                </c:pt>
                <c:pt idx="20">
                  <c:v>Dec-08</c:v>
                </c:pt>
                <c:pt idx="21">
                  <c:v>Dec-08</c:v>
                </c:pt>
                <c:pt idx="22">
                  <c:v>Dec-08</c:v>
                </c:pt>
                <c:pt idx="23">
                  <c:v>Dec-08</c:v>
                </c:pt>
                <c:pt idx="24">
                  <c:v>Dec-08</c:v>
                </c:pt>
                <c:pt idx="25">
                  <c:v>Dec-08</c:v>
                </c:pt>
                <c:pt idx="26">
                  <c:v>Dec-08</c:v>
                </c:pt>
                <c:pt idx="27">
                  <c:v>Dec-08</c:v>
                </c:pt>
                <c:pt idx="28">
                  <c:v>Dec-08</c:v>
                </c:pt>
                <c:pt idx="29">
                  <c:v>Dec-08</c:v>
                </c:pt>
                <c:pt idx="30">
                  <c:v>Dec-08</c:v>
                </c:pt>
                <c:pt idx="31">
                  <c:v>Jan-09 </c:v>
                </c:pt>
                <c:pt idx="32">
                  <c:v>Jan-09 </c:v>
                </c:pt>
                <c:pt idx="33">
                  <c:v>Jan-09 </c:v>
                </c:pt>
                <c:pt idx="34">
                  <c:v>Jan-09 </c:v>
                </c:pt>
                <c:pt idx="35">
                  <c:v>Jan-09 </c:v>
                </c:pt>
                <c:pt idx="36">
                  <c:v>Jan-09 </c:v>
                </c:pt>
                <c:pt idx="37">
                  <c:v>Jan-09 </c:v>
                </c:pt>
                <c:pt idx="38">
                  <c:v>Jan-09 </c:v>
                </c:pt>
                <c:pt idx="39">
                  <c:v>Jan-09 </c:v>
                </c:pt>
                <c:pt idx="40">
                  <c:v>Jan-09 </c:v>
                </c:pt>
                <c:pt idx="41">
                  <c:v>Jan-09 </c:v>
                </c:pt>
                <c:pt idx="42">
                  <c:v>Jan-09 </c:v>
                </c:pt>
                <c:pt idx="43">
                  <c:v>Jan-09 </c:v>
                </c:pt>
                <c:pt idx="44">
                  <c:v>Jan-09 </c:v>
                </c:pt>
                <c:pt idx="45">
                  <c:v>Jan-09 </c:v>
                </c:pt>
                <c:pt idx="46">
                  <c:v>Jan-09 </c:v>
                </c:pt>
                <c:pt idx="47">
                  <c:v>Jan-09 </c:v>
                </c:pt>
                <c:pt idx="48">
                  <c:v>Jan-09 </c:v>
                </c:pt>
                <c:pt idx="49">
                  <c:v>Jan-09 </c:v>
                </c:pt>
                <c:pt idx="50">
                  <c:v>Jan-09 </c:v>
                </c:pt>
                <c:pt idx="51">
                  <c:v>Jan-09 </c:v>
                </c:pt>
                <c:pt idx="52">
                  <c:v>Feb-09 </c:v>
                </c:pt>
                <c:pt idx="53">
                  <c:v>Feb-09 </c:v>
                </c:pt>
                <c:pt idx="54">
                  <c:v>Feb-09 </c:v>
                </c:pt>
                <c:pt idx="55">
                  <c:v>Feb-09 </c:v>
                </c:pt>
                <c:pt idx="56">
                  <c:v>Feb-09 </c:v>
                </c:pt>
                <c:pt idx="57">
                  <c:v>Feb-09 </c:v>
                </c:pt>
                <c:pt idx="58">
                  <c:v>Feb-09 </c:v>
                </c:pt>
                <c:pt idx="59">
                  <c:v>Feb-09 </c:v>
                </c:pt>
                <c:pt idx="60">
                  <c:v>Feb-09 </c:v>
                </c:pt>
                <c:pt idx="61">
                  <c:v>Feb-09 </c:v>
                </c:pt>
                <c:pt idx="62">
                  <c:v>Feb-09 </c:v>
                </c:pt>
                <c:pt idx="63">
                  <c:v>Feb-09 </c:v>
                </c:pt>
                <c:pt idx="64">
                  <c:v>Feb-09 </c:v>
                </c:pt>
                <c:pt idx="65">
                  <c:v>Feb-09 </c:v>
                </c:pt>
                <c:pt idx="66">
                  <c:v>Feb-09 </c:v>
                </c:pt>
                <c:pt idx="67">
                  <c:v>Feb-09 </c:v>
                </c:pt>
                <c:pt idx="68">
                  <c:v>Feb-09 </c:v>
                </c:pt>
                <c:pt idx="69">
                  <c:v>Feb-09 </c:v>
                </c:pt>
                <c:pt idx="70">
                  <c:v>Feb-09 </c:v>
                </c:pt>
                <c:pt idx="71">
                  <c:v>Feb-09 </c:v>
                </c:pt>
                <c:pt idx="72">
                  <c:v>Mar-09 </c:v>
                </c:pt>
                <c:pt idx="73">
                  <c:v>Mar-09 </c:v>
                </c:pt>
                <c:pt idx="74">
                  <c:v>Mar-09 </c:v>
                </c:pt>
                <c:pt idx="75">
                  <c:v>Mar-09 </c:v>
                </c:pt>
                <c:pt idx="76">
                  <c:v>Mar-09 </c:v>
                </c:pt>
                <c:pt idx="77">
                  <c:v>Mar-09 </c:v>
                </c:pt>
                <c:pt idx="78">
                  <c:v>Mar-09 </c:v>
                </c:pt>
                <c:pt idx="79">
                  <c:v>Mar-09 </c:v>
                </c:pt>
                <c:pt idx="80">
                  <c:v>Mar-09 </c:v>
                </c:pt>
                <c:pt idx="81">
                  <c:v>Mar-09 </c:v>
                </c:pt>
                <c:pt idx="82">
                  <c:v>Mar-09 </c:v>
                </c:pt>
                <c:pt idx="83">
                  <c:v>Mar-09 </c:v>
                </c:pt>
                <c:pt idx="84">
                  <c:v>Mar-09 </c:v>
                </c:pt>
                <c:pt idx="85">
                  <c:v>Mar-09 </c:v>
                </c:pt>
                <c:pt idx="86">
                  <c:v>Mar-09 </c:v>
                </c:pt>
                <c:pt idx="87">
                  <c:v>Mar-09 </c:v>
                </c:pt>
                <c:pt idx="88">
                  <c:v>Mar-09 </c:v>
                </c:pt>
                <c:pt idx="89">
                  <c:v>Mar-09 </c:v>
                </c:pt>
                <c:pt idx="90">
                  <c:v>Mar-09 </c:v>
                </c:pt>
                <c:pt idx="91">
                  <c:v>Mar-09 </c:v>
                </c:pt>
                <c:pt idx="92">
                  <c:v>Mar-09 </c:v>
                </c:pt>
                <c:pt idx="93">
                  <c:v>Mar-09 </c:v>
                </c:pt>
                <c:pt idx="94">
                  <c:v>Apr-09</c:v>
                </c:pt>
                <c:pt idx="95">
                  <c:v>Apr-09</c:v>
                </c:pt>
                <c:pt idx="96">
                  <c:v>Apr-09</c:v>
                </c:pt>
                <c:pt idx="97">
                  <c:v>Apr-09</c:v>
                </c:pt>
                <c:pt idx="98">
                  <c:v>Apr-09</c:v>
                </c:pt>
                <c:pt idx="99">
                  <c:v>Apr-09</c:v>
                </c:pt>
                <c:pt idx="100">
                  <c:v>Apr-09</c:v>
                </c:pt>
                <c:pt idx="101">
                  <c:v>Apr-09</c:v>
                </c:pt>
                <c:pt idx="102">
                  <c:v>Apr-09</c:v>
                </c:pt>
                <c:pt idx="103">
                  <c:v>Apr-09</c:v>
                </c:pt>
                <c:pt idx="104">
                  <c:v>Apr-09</c:v>
                </c:pt>
                <c:pt idx="105">
                  <c:v>Apr-09</c:v>
                </c:pt>
                <c:pt idx="106">
                  <c:v>Apr-09</c:v>
                </c:pt>
                <c:pt idx="107">
                  <c:v>Apr-09</c:v>
                </c:pt>
                <c:pt idx="108">
                  <c:v>Apr-09</c:v>
                </c:pt>
                <c:pt idx="109">
                  <c:v>Apr-09</c:v>
                </c:pt>
                <c:pt idx="110">
                  <c:v>Apr-09</c:v>
                </c:pt>
                <c:pt idx="111">
                  <c:v>Apr-09</c:v>
                </c:pt>
                <c:pt idx="112">
                  <c:v>Apr-09</c:v>
                </c:pt>
                <c:pt idx="113">
                  <c:v>Apr-09</c:v>
                </c:pt>
                <c:pt idx="114">
                  <c:v>May-09 </c:v>
                </c:pt>
                <c:pt idx="115">
                  <c:v>May-09 </c:v>
                </c:pt>
                <c:pt idx="116">
                  <c:v>May-09 </c:v>
                </c:pt>
                <c:pt idx="117">
                  <c:v>May-09 </c:v>
                </c:pt>
                <c:pt idx="118">
                  <c:v>May-09 </c:v>
                </c:pt>
                <c:pt idx="119">
                  <c:v>May-09 </c:v>
                </c:pt>
                <c:pt idx="120">
                  <c:v>May-09 </c:v>
                </c:pt>
                <c:pt idx="121">
                  <c:v>May-09 </c:v>
                </c:pt>
                <c:pt idx="122">
                  <c:v>May-09 </c:v>
                </c:pt>
                <c:pt idx="123">
                  <c:v>May-09 </c:v>
                </c:pt>
                <c:pt idx="124">
                  <c:v>May-09 </c:v>
                </c:pt>
                <c:pt idx="125">
                  <c:v>May-09 </c:v>
                </c:pt>
                <c:pt idx="126">
                  <c:v>May-09 </c:v>
                </c:pt>
                <c:pt idx="127">
                  <c:v>May-09 </c:v>
                </c:pt>
                <c:pt idx="128">
                  <c:v>May-09 </c:v>
                </c:pt>
                <c:pt idx="129">
                  <c:v>May-09 </c:v>
                </c:pt>
                <c:pt idx="130">
                  <c:v>May-09 </c:v>
                </c:pt>
                <c:pt idx="131">
                  <c:v>May-09 </c:v>
                </c:pt>
                <c:pt idx="132">
                  <c:v>May-09 </c:v>
                </c:pt>
                <c:pt idx="133">
                  <c:v>May-09 </c:v>
                </c:pt>
                <c:pt idx="134">
                  <c:v>May-09 </c:v>
                </c:pt>
                <c:pt idx="135">
                  <c:v>Jun-09 </c:v>
                </c:pt>
                <c:pt idx="136">
                  <c:v>Jun-09 </c:v>
                </c:pt>
                <c:pt idx="137">
                  <c:v>Jun-09 </c:v>
                </c:pt>
                <c:pt idx="138">
                  <c:v>Jun-09 </c:v>
                </c:pt>
                <c:pt idx="139">
                  <c:v>Jun-09 </c:v>
                </c:pt>
                <c:pt idx="140">
                  <c:v>Jun-09 </c:v>
                </c:pt>
                <c:pt idx="141">
                  <c:v>Jun-09 </c:v>
                </c:pt>
                <c:pt idx="142">
                  <c:v>Jun-09 </c:v>
                </c:pt>
                <c:pt idx="143">
                  <c:v>Jun-09 </c:v>
                </c:pt>
                <c:pt idx="144">
                  <c:v>Jun-09 </c:v>
                </c:pt>
                <c:pt idx="145">
                  <c:v>Jun-09 </c:v>
                </c:pt>
                <c:pt idx="146">
                  <c:v>Jun-09 </c:v>
                </c:pt>
                <c:pt idx="147">
                  <c:v>Jun-09 </c:v>
                </c:pt>
                <c:pt idx="148">
                  <c:v>Jun-09 </c:v>
                </c:pt>
                <c:pt idx="149">
                  <c:v>Jun-09 </c:v>
                </c:pt>
                <c:pt idx="150">
                  <c:v>Jun-09 </c:v>
                </c:pt>
                <c:pt idx="151">
                  <c:v>Jun-09 </c:v>
                </c:pt>
                <c:pt idx="152">
                  <c:v>Jun-09 </c:v>
                </c:pt>
                <c:pt idx="153">
                  <c:v>Jun-09 </c:v>
                </c:pt>
                <c:pt idx="154">
                  <c:v>Jun-09 </c:v>
                </c:pt>
                <c:pt idx="155">
                  <c:v>Jun-09 </c:v>
                </c:pt>
                <c:pt idx="156">
                  <c:v>Jun-09 </c:v>
                </c:pt>
                <c:pt idx="157">
                  <c:v>Jul-09</c:v>
                </c:pt>
                <c:pt idx="158">
                  <c:v>Jul-09</c:v>
                </c:pt>
                <c:pt idx="159">
                  <c:v>Jul-09</c:v>
                </c:pt>
                <c:pt idx="160">
                  <c:v>Jul-09</c:v>
                </c:pt>
                <c:pt idx="161">
                  <c:v>Jul-09</c:v>
                </c:pt>
                <c:pt idx="162">
                  <c:v>Jul-09</c:v>
                </c:pt>
                <c:pt idx="163">
                  <c:v>Jul-09</c:v>
                </c:pt>
                <c:pt idx="164">
                  <c:v>Jul-09</c:v>
                </c:pt>
                <c:pt idx="165">
                  <c:v>Jul-09</c:v>
                </c:pt>
                <c:pt idx="166">
                  <c:v>Jul-09</c:v>
                </c:pt>
                <c:pt idx="167">
                  <c:v>Jul-09</c:v>
                </c:pt>
                <c:pt idx="168">
                  <c:v>Jul-09</c:v>
                </c:pt>
                <c:pt idx="169">
                  <c:v>Jul-09</c:v>
                </c:pt>
                <c:pt idx="170">
                  <c:v>Jul-09</c:v>
                </c:pt>
                <c:pt idx="171">
                  <c:v>Jul-09</c:v>
                </c:pt>
                <c:pt idx="172">
                  <c:v>Jul-09</c:v>
                </c:pt>
                <c:pt idx="173">
                  <c:v>Jul-09</c:v>
                </c:pt>
                <c:pt idx="174">
                  <c:v>Jul-09</c:v>
                </c:pt>
                <c:pt idx="175">
                  <c:v>Jul-09</c:v>
                </c:pt>
                <c:pt idx="176">
                  <c:v>Jul-09</c:v>
                </c:pt>
                <c:pt idx="177">
                  <c:v>Jul-09</c:v>
                </c:pt>
                <c:pt idx="178">
                  <c:v>Jul-09</c:v>
                </c:pt>
                <c:pt idx="179">
                  <c:v>Jul-09</c:v>
                </c:pt>
                <c:pt idx="180">
                  <c:v>Aug-09 </c:v>
                </c:pt>
                <c:pt idx="181">
                  <c:v>Aug-09 </c:v>
                </c:pt>
                <c:pt idx="182">
                  <c:v>Aug-09 </c:v>
                </c:pt>
                <c:pt idx="183">
                  <c:v>Aug-09 </c:v>
                </c:pt>
                <c:pt idx="184">
                  <c:v>Aug-09 </c:v>
                </c:pt>
                <c:pt idx="185">
                  <c:v>Aug-09 </c:v>
                </c:pt>
                <c:pt idx="186">
                  <c:v>Aug-09 </c:v>
                </c:pt>
                <c:pt idx="187">
                  <c:v>Aug-09 </c:v>
                </c:pt>
                <c:pt idx="188">
                  <c:v>Aug-09 </c:v>
                </c:pt>
                <c:pt idx="189">
                  <c:v>Aug-09 </c:v>
                </c:pt>
                <c:pt idx="190">
                  <c:v>Aug-09 </c:v>
                </c:pt>
                <c:pt idx="191">
                  <c:v>Aug-09 </c:v>
                </c:pt>
                <c:pt idx="192">
                  <c:v>Aug-09 </c:v>
                </c:pt>
                <c:pt idx="193">
                  <c:v>Aug-09 </c:v>
                </c:pt>
                <c:pt idx="194">
                  <c:v>Aug-09 </c:v>
                </c:pt>
                <c:pt idx="195">
                  <c:v>Aug-09 </c:v>
                </c:pt>
                <c:pt idx="196">
                  <c:v>Aug-09 </c:v>
                </c:pt>
                <c:pt idx="197">
                  <c:v>Aug-09 </c:v>
                </c:pt>
                <c:pt idx="198">
                  <c:v>Aug-09 </c:v>
                </c:pt>
                <c:pt idx="199">
                  <c:v>Aug-09 </c:v>
                </c:pt>
                <c:pt idx="200">
                  <c:v>Aug-09 </c:v>
                </c:pt>
                <c:pt idx="201">
                  <c:v>Sep-09</c:v>
                </c:pt>
                <c:pt idx="202">
                  <c:v>Sep-09</c:v>
                </c:pt>
                <c:pt idx="203">
                  <c:v>Sep-09</c:v>
                </c:pt>
                <c:pt idx="204">
                  <c:v>Sep-09</c:v>
                </c:pt>
                <c:pt idx="205">
                  <c:v>Sep-09</c:v>
                </c:pt>
                <c:pt idx="206">
                  <c:v>Sep-09</c:v>
                </c:pt>
                <c:pt idx="207">
                  <c:v>Sep-09</c:v>
                </c:pt>
                <c:pt idx="208">
                  <c:v>Sep-09</c:v>
                </c:pt>
                <c:pt idx="209">
                  <c:v>Sep-09</c:v>
                </c:pt>
                <c:pt idx="210">
                  <c:v>Sep-09</c:v>
                </c:pt>
                <c:pt idx="211">
                  <c:v>Sep-09</c:v>
                </c:pt>
                <c:pt idx="212">
                  <c:v>Sep-09</c:v>
                </c:pt>
                <c:pt idx="213">
                  <c:v>Sep-09</c:v>
                </c:pt>
                <c:pt idx="214">
                  <c:v>Sep-09</c:v>
                </c:pt>
                <c:pt idx="215">
                  <c:v>Sep-09</c:v>
                </c:pt>
                <c:pt idx="216">
                  <c:v>Sep-09</c:v>
                </c:pt>
                <c:pt idx="217">
                  <c:v>Sep-09</c:v>
                </c:pt>
                <c:pt idx="218">
                  <c:v>Sep-09</c:v>
                </c:pt>
                <c:pt idx="219">
                  <c:v>Sep-09</c:v>
                </c:pt>
                <c:pt idx="220">
                  <c:v>Sep-09</c:v>
                </c:pt>
                <c:pt idx="221">
                  <c:v>Sep-09</c:v>
                </c:pt>
                <c:pt idx="222">
                  <c:v>Sep-09</c:v>
                </c:pt>
                <c:pt idx="223">
                  <c:v>Oct-09</c:v>
                </c:pt>
                <c:pt idx="224">
                  <c:v>Oct-09</c:v>
                </c:pt>
                <c:pt idx="225">
                  <c:v>Oct-09</c:v>
                </c:pt>
                <c:pt idx="226">
                  <c:v>Oct-09</c:v>
                </c:pt>
                <c:pt idx="227">
                  <c:v>Oct-09</c:v>
                </c:pt>
                <c:pt idx="228">
                  <c:v>Oct-09</c:v>
                </c:pt>
                <c:pt idx="229">
                  <c:v>Oct-09</c:v>
                </c:pt>
                <c:pt idx="230">
                  <c:v>Oct-09</c:v>
                </c:pt>
                <c:pt idx="231">
                  <c:v>Oct-09</c:v>
                </c:pt>
                <c:pt idx="232">
                  <c:v>Oct-09</c:v>
                </c:pt>
                <c:pt idx="233">
                  <c:v>Oct-09</c:v>
                </c:pt>
                <c:pt idx="234">
                  <c:v>Oct-09</c:v>
                </c:pt>
                <c:pt idx="235">
                  <c:v>Oct-09</c:v>
                </c:pt>
                <c:pt idx="236">
                  <c:v>Oct-09</c:v>
                </c:pt>
                <c:pt idx="237">
                  <c:v>Oct-09</c:v>
                </c:pt>
                <c:pt idx="238">
                  <c:v>Oct-09</c:v>
                </c:pt>
                <c:pt idx="239">
                  <c:v>Oct-09</c:v>
                </c:pt>
                <c:pt idx="240">
                  <c:v>Oct-09</c:v>
                </c:pt>
                <c:pt idx="241">
                  <c:v>Oct-09</c:v>
                </c:pt>
                <c:pt idx="242">
                  <c:v>Oct-09</c:v>
                </c:pt>
                <c:pt idx="243">
                  <c:v>Oct-09</c:v>
                </c:pt>
                <c:pt idx="244">
                  <c:v>Oct-09</c:v>
                </c:pt>
                <c:pt idx="245">
                  <c:v>Nov-09 </c:v>
                </c:pt>
                <c:pt idx="246">
                  <c:v>Nov-09 </c:v>
                </c:pt>
                <c:pt idx="247">
                  <c:v>Nov-09 </c:v>
                </c:pt>
                <c:pt idx="248">
                  <c:v>Nov-09 </c:v>
                </c:pt>
                <c:pt idx="249">
                  <c:v>Nov-09 </c:v>
                </c:pt>
                <c:pt idx="250">
                  <c:v>Nov-09 </c:v>
                </c:pt>
                <c:pt idx="251">
                  <c:v>Nov-09 </c:v>
                </c:pt>
                <c:pt idx="252">
                  <c:v>Nov-09 </c:v>
                </c:pt>
                <c:pt idx="253">
                  <c:v>Nov-09 </c:v>
                </c:pt>
                <c:pt idx="254">
                  <c:v>Nov-09 </c:v>
                </c:pt>
                <c:pt idx="255">
                  <c:v>Nov-09 </c:v>
                </c:pt>
                <c:pt idx="256">
                  <c:v>Nov-09 </c:v>
                </c:pt>
                <c:pt idx="257">
                  <c:v>Nov-09 </c:v>
                </c:pt>
                <c:pt idx="258">
                  <c:v>Nov-09 </c:v>
                </c:pt>
                <c:pt idx="259">
                  <c:v>Nov-09 </c:v>
                </c:pt>
                <c:pt idx="260">
                  <c:v>Nov-09 </c:v>
                </c:pt>
                <c:pt idx="261">
                  <c:v>Nov-09 </c:v>
                </c:pt>
                <c:pt idx="262">
                  <c:v>Nov-09 </c:v>
                </c:pt>
                <c:pt idx="263">
                  <c:v>Nov-09 </c:v>
                </c:pt>
                <c:pt idx="264">
                  <c:v>Nov-09 </c:v>
                </c:pt>
                <c:pt idx="265">
                  <c:v>Nov-09 </c:v>
                </c:pt>
                <c:pt idx="266">
                  <c:v>Dec-09</c:v>
                </c:pt>
                <c:pt idx="267">
                  <c:v>Dec-09</c:v>
                </c:pt>
                <c:pt idx="268">
                  <c:v>Dec-09</c:v>
                </c:pt>
                <c:pt idx="269">
                  <c:v>Dec-09</c:v>
                </c:pt>
                <c:pt idx="270">
                  <c:v>Dec-09</c:v>
                </c:pt>
                <c:pt idx="271">
                  <c:v>Dec-09</c:v>
                </c:pt>
                <c:pt idx="272">
                  <c:v>Dec-09</c:v>
                </c:pt>
                <c:pt idx="273">
                  <c:v>Dec-09</c:v>
                </c:pt>
                <c:pt idx="274">
                  <c:v>Dec-09</c:v>
                </c:pt>
                <c:pt idx="275">
                  <c:v>Dec-09</c:v>
                </c:pt>
                <c:pt idx="276">
                  <c:v>Dec-09</c:v>
                </c:pt>
                <c:pt idx="277">
                  <c:v>Dec-09</c:v>
                </c:pt>
                <c:pt idx="278">
                  <c:v>Dec-09</c:v>
                </c:pt>
                <c:pt idx="279">
                  <c:v>Dec-09</c:v>
                </c:pt>
                <c:pt idx="280">
                  <c:v>Dec-09</c:v>
                </c:pt>
                <c:pt idx="281">
                  <c:v>Dec-09</c:v>
                </c:pt>
                <c:pt idx="282">
                  <c:v>Dec-09</c:v>
                </c:pt>
                <c:pt idx="283">
                  <c:v>Dec-09</c:v>
                </c:pt>
                <c:pt idx="284">
                  <c:v>Dec-09</c:v>
                </c:pt>
                <c:pt idx="285">
                  <c:v>Dec-09</c:v>
                </c:pt>
                <c:pt idx="286">
                  <c:v>Dec-09</c:v>
                </c:pt>
                <c:pt idx="287">
                  <c:v>Dec-09</c:v>
                </c:pt>
                <c:pt idx="288">
                  <c:v>Jan-10 </c:v>
                </c:pt>
                <c:pt idx="289">
                  <c:v>Jan-10 </c:v>
                </c:pt>
                <c:pt idx="290">
                  <c:v>Jan-10 </c:v>
                </c:pt>
                <c:pt idx="291">
                  <c:v>Jan-10 </c:v>
                </c:pt>
                <c:pt idx="292">
                  <c:v>Jan-10 </c:v>
                </c:pt>
                <c:pt idx="293">
                  <c:v>Jan-10 </c:v>
                </c:pt>
                <c:pt idx="294">
                  <c:v>Jan-10 </c:v>
                </c:pt>
                <c:pt idx="295">
                  <c:v>Jan-10 </c:v>
                </c:pt>
                <c:pt idx="296">
                  <c:v>Jan-10 </c:v>
                </c:pt>
                <c:pt idx="297">
                  <c:v>Jan-10 </c:v>
                </c:pt>
                <c:pt idx="298">
                  <c:v>Jan-10 </c:v>
                </c:pt>
                <c:pt idx="299">
                  <c:v>Jan-10 </c:v>
                </c:pt>
                <c:pt idx="300">
                  <c:v>Jan-10 </c:v>
                </c:pt>
                <c:pt idx="301">
                  <c:v>Jan-10 </c:v>
                </c:pt>
                <c:pt idx="302">
                  <c:v>Jan-10 </c:v>
                </c:pt>
                <c:pt idx="303">
                  <c:v>Jan-10 </c:v>
                </c:pt>
                <c:pt idx="304">
                  <c:v>Jan-10 </c:v>
                </c:pt>
                <c:pt idx="305">
                  <c:v>Jan-10 </c:v>
                </c:pt>
                <c:pt idx="306">
                  <c:v>Jan-10 </c:v>
                </c:pt>
                <c:pt idx="307">
                  <c:v>Jan-10 </c:v>
                </c:pt>
                <c:pt idx="308">
                  <c:v>Feb-10 </c:v>
                </c:pt>
                <c:pt idx="309">
                  <c:v>Feb-10 </c:v>
                </c:pt>
                <c:pt idx="310">
                  <c:v>Feb-10 </c:v>
                </c:pt>
                <c:pt idx="311">
                  <c:v>Feb-10 </c:v>
                </c:pt>
                <c:pt idx="312">
                  <c:v>Feb-10 </c:v>
                </c:pt>
                <c:pt idx="313">
                  <c:v>Feb-10 </c:v>
                </c:pt>
                <c:pt idx="314">
                  <c:v>Feb-10 </c:v>
                </c:pt>
                <c:pt idx="315">
                  <c:v>Feb-10 </c:v>
                </c:pt>
                <c:pt idx="316">
                  <c:v>Feb-10 </c:v>
                </c:pt>
                <c:pt idx="317">
                  <c:v>Feb-10 </c:v>
                </c:pt>
                <c:pt idx="318">
                  <c:v>Feb-10 </c:v>
                </c:pt>
                <c:pt idx="319">
                  <c:v>Feb-10 </c:v>
                </c:pt>
                <c:pt idx="320">
                  <c:v>Feb-10 </c:v>
                </c:pt>
                <c:pt idx="321">
                  <c:v>Feb-10 </c:v>
                </c:pt>
                <c:pt idx="322">
                  <c:v>Feb-10 </c:v>
                </c:pt>
                <c:pt idx="323">
                  <c:v>Feb-10 </c:v>
                </c:pt>
                <c:pt idx="324">
                  <c:v>Feb-10 </c:v>
                </c:pt>
                <c:pt idx="325">
                  <c:v>Feb-10 </c:v>
                </c:pt>
                <c:pt idx="326">
                  <c:v>Feb-10 </c:v>
                </c:pt>
                <c:pt idx="327">
                  <c:v>Feb-10 </c:v>
                </c:pt>
                <c:pt idx="328">
                  <c:v>Mar-10 </c:v>
                </c:pt>
                <c:pt idx="329">
                  <c:v>Mar-10 </c:v>
                </c:pt>
                <c:pt idx="330">
                  <c:v>Mar-10 </c:v>
                </c:pt>
                <c:pt idx="331">
                  <c:v>Mar-10 </c:v>
                </c:pt>
                <c:pt idx="332">
                  <c:v>Mar-10 </c:v>
                </c:pt>
                <c:pt idx="333">
                  <c:v>Mar-10 </c:v>
                </c:pt>
                <c:pt idx="334">
                  <c:v>Mar-10 </c:v>
                </c:pt>
                <c:pt idx="335">
                  <c:v>Mar-10 </c:v>
                </c:pt>
                <c:pt idx="336">
                  <c:v>Mar-10 </c:v>
                </c:pt>
                <c:pt idx="337">
                  <c:v>Mar-10 </c:v>
                </c:pt>
                <c:pt idx="338">
                  <c:v>Mar-10 </c:v>
                </c:pt>
                <c:pt idx="339">
                  <c:v>Mar-10 </c:v>
                </c:pt>
                <c:pt idx="340">
                  <c:v>Mar-10 </c:v>
                </c:pt>
                <c:pt idx="341">
                  <c:v>Mar-10 </c:v>
                </c:pt>
                <c:pt idx="342">
                  <c:v>Mar-10 </c:v>
                </c:pt>
                <c:pt idx="343">
                  <c:v>Mar-10 </c:v>
                </c:pt>
                <c:pt idx="344">
                  <c:v>Mar-10 </c:v>
                </c:pt>
                <c:pt idx="345">
                  <c:v>Mar-10 </c:v>
                </c:pt>
                <c:pt idx="346">
                  <c:v>Mar-10 </c:v>
                </c:pt>
                <c:pt idx="347">
                  <c:v>Mar-10 </c:v>
                </c:pt>
                <c:pt idx="348">
                  <c:v>Mar-10 </c:v>
                </c:pt>
                <c:pt idx="349">
                  <c:v>Mar-10 </c:v>
                </c:pt>
                <c:pt idx="350">
                  <c:v>Mar-10 </c:v>
                </c:pt>
                <c:pt idx="351">
                  <c:v>Apr-10</c:v>
                </c:pt>
                <c:pt idx="352">
                  <c:v>Apr-10</c:v>
                </c:pt>
                <c:pt idx="353">
                  <c:v>Apr-10</c:v>
                </c:pt>
                <c:pt idx="354">
                  <c:v>Apr-10</c:v>
                </c:pt>
                <c:pt idx="355">
                  <c:v>Apr-10</c:v>
                </c:pt>
                <c:pt idx="356">
                  <c:v>Apr-10</c:v>
                </c:pt>
                <c:pt idx="357">
                  <c:v>Apr-10</c:v>
                </c:pt>
                <c:pt idx="358">
                  <c:v>Apr-10</c:v>
                </c:pt>
                <c:pt idx="359">
                  <c:v>Apr-10</c:v>
                </c:pt>
                <c:pt idx="360">
                  <c:v>Apr-10</c:v>
                </c:pt>
                <c:pt idx="361">
                  <c:v>Apr-10</c:v>
                </c:pt>
                <c:pt idx="362">
                  <c:v>Apr-10</c:v>
                </c:pt>
                <c:pt idx="363">
                  <c:v>Apr-10</c:v>
                </c:pt>
                <c:pt idx="364">
                  <c:v>Apr-10</c:v>
                </c:pt>
                <c:pt idx="365">
                  <c:v>Apr-10</c:v>
                </c:pt>
                <c:pt idx="366">
                  <c:v>Apr-10</c:v>
                </c:pt>
                <c:pt idx="367">
                  <c:v>Apr-10</c:v>
                </c:pt>
                <c:pt idx="368">
                  <c:v>Apr-10</c:v>
                </c:pt>
                <c:pt idx="369">
                  <c:v>Apr-10</c:v>
                </c:pt>
                <c:pt idx="370">
                  <c:v>Apr-10</c:v>
                </c:pt>
                <c:pt idx="371">
                  <c:v>May-10 </c:v>
                </c:pt>
                <c:pt idx="372">
                  <c:v>May-10 </c:v>
                </c:pt>
                <c:pt idx="373">
                  <c:v>May-10 </c:v>
                </c:pt>
                <c:pt idx="374">
                  <c:v>May-10 </c:v>
                </c:pt>
                <c:pt idx="375">
                  <c:v>May-10 </c:v>
                </c:pt>
                <c:pt idx="376">
                  <c:v>May-10 </c:v>
                </c:pt>
                <c:pt idx="377">
                  <c:v>May-10 </c:v>
                </c:pt>
                <c:pt idx="378">
                  <c:v>May-10 </c:v>
                </c:pt>
                <c:pt idx="379">
                  <c:v>May-10 </c:v>
                </c:pt>
                <c:pt idx="380">
                  <c:v>May-10 </c:v>
                </c:pt>
                <c:pt idx="381">
                  <c:v>May-10 </c:v>
                </c:pt>
                <c:pt idx="382">
                  <c:v>May-10 </c:v>
                </c:pt>
                <c:pt idx="383">
                  <c:v>May-10 </c:v>
                </c:pt>
                <c:pt idx="384">
                  <c:v>May-10 </c:v>
                </c:pt>
                <c:pt idx="385">
                  <c:v>May-10 </c:v>
                </c:pt>
                <c:pt idx="386">
                  <c:v>May-10 </c:v>
                </c:pt>
                <c:pt idx="387">
                  <c:v>May-10 </c:v>
                </c:pt>
                <c:pt idx="388">
                  <c:v>May-10 </c:v>
                </c:pt>
                <c:pt idx="389">
                  <c:v>May-10 </c:v>
                </c:pt>
                <c:pt idx="390">
                  <c:v>May-10 </c:v>
                </c:pt>
                <c:pt idx="391">
                  <c:v>May-10 </c:v>
                </c:pt>
                <c:pt idx="392">
                  <c:v>Jun-10 </c:v>
                </c:pt>
                <c:pt idx="393">
                  <c:v>Jun-10 </c:v>
                </c:pt>
                <c:pt idx="394">
                  <c:v>Jun-10 </c:v>
                </c:pt>
                <c:pt idx="395">
                  <c:v>Jun-10 </c:v>
                </c:pt>
                <c:pt idx="396">
                  <c:v>Jun-10 </c:v>
                </c:pt>
                <c:pt idx="397">
                  <c:v>Jun-10 </c:v>
                </c:pt>
                <c:pt idx="398">
                  <c:v>Jun-10 </c:v>
                </c:pt>
                <c:pt idx="399">
                  <c:v>Jun-10 </c:v>
                </c:pt>
                <c:pt idx="400">
                  <c:v>Jun-10 </c:v>
                </c:pt>
                <c:pt idx="401">
                  <c:v>Jun-10 </c:v>
                </c:pt>
                <c:pt idx="402">
                  <c:v>Jun-10 </c:v>
                </c:pt>
                <c:pt idx="403">
                  <c:v>Jun-10 </c:v>
                </c:pt>
                <c:pt idx="404">
                  <c:v>Jun-10 </c:v>
                </c:pt>
                <c:pt idx="405">
                  <c:v>Jun-10 </c:v>
                </c:pt>
                <c:pt idx="406">
                  <c:v>Jun-10 </c:v>
                </c:pt>
                <c:pt idx="407">
                  <c:v>Jun-10 </c:v>
                </c:pt>
                <c:pt idx="408">
                  <c:v>Jun-10 </c:v>
                </c:pt>
                <c:pt idx="409">
                  <c:v>Jun-10 </c:v>
                </c:pt>
                <c:pt idx="410">
                  <c:v>Jun-10 </c:v>
                </c:pt>
                <c:pt idx="411">
                  <c:v>Jun-10 </c:v>
                </c:pt>
                <c:pt idx="412">
                  <c:v>Jun-10 </c:v>
                </c:pt>
                <c:pt idx="413">
                  <c:v>Jun-10 </c:v>
                </c:pt>
                <c:pt idx="414">
                  <c:v>Jul-10 A4432</c:v>
                </c:pt>
                <c:pt idx="415">
                  <c:v>Jul-10 2</c:v>
                </c:pt>
                <c:pt idx="416">
                  <c:v>Jul-10 2</c:v>
                </c:pt>
                <c:pt idx="417">
                  <c:v>Jul-10 2</c:v>
                </c:pt>
                <c:pt idx="418">
                  <c:v>Jul-10 2</c:v>
                </c:pt>
                <c:pt idx="419">
                  <c:v>Jul-10 2</c:v>
                </c:pt>
                <c:pt idx="420">
                  <c:v>Jul-10 2</c:v>
                </c:pt>
                <c:pt idx="421">
                  <c:v>Jul-10 2</c:v>
                </c:pt>
                <c:pt idx="422">
                  <c:v>Jul-10 2</c:v>
                </c:pt>
                <c:pt idx="423">
                  <c:v>Jul-10 2</c:v>
                </c:pt>
                <c:pt idx="424">
                  <c:v>Jul-10 2</c:v>
                </c:pt>
                <c:pt idx="425">
                  <c:v>Jul-10 2</c:v>
                </c:pt>
                <c:pt idx="426">
                  <c:v>Jul-10 2</c:v>
                </c:pt>
                <c:pt idx="427">
                  <c:v>Jul-10 2</c:v>
                </c:pt>
                <c:pt idx="428">
                  <c:v>Jul-10 2</c:v>
                </c:pt>
                <c:pt idx="429">
                  <c:v>Jul-10 2</c:v>
                </c:pt>
                <c:pt idx="430">
                  <c:v>Jul-10 2</c:v>
                </c:pt>
                <c:pt idx="431">
                  <c:v>Jul-10 2</c:v>
                </c:pt>
                <c:pt idx="432">
                  <c:v>Jul-10 2</c:v>
                </c:pt>
                <c:pt idx="433">
                  <c:v>Jul-10 2</c:v>
                </c:pt>
                <c:pt idx="434">
                  <c:v>Jul-10 2</c:v>
                </c:pt>
                <c:pt idx="435">
                  <c:v>Jul-10 2</c:v>
                </c:pt>
                <c:pt idx="436">
                  <c:v>Aug-10 </c:v>
                </c:pt>
                <c:pt idx="437">
                  <c:v>Aug-10 </c:v>
                </c:pt>
                <c:pt idx="438">
                  <c:v>Aug-10 </c:v>
                </c:pt>
                <c:pt idx="439">
                  <c:v>Aug-10 </c:v>
                </c:pt>
                <c:pt idx="440">
                  <c:v>Aug-10 </c:v>
                </c:pt>
                <c:pt idx="441">
                  <c:v>Aug-10 </c:v>
                </c:pt>
                <c:pt idx="442">
                  <c:v>Aug-10 </c:v>
                </c:pt>
                <c:pt idx="443">
                  <c:v>Aug-10 </c:v>
                </c:pt>
                <c:pt idx="444">
                  <c:v>Aug-10 </c:v>
                </c:pt>
                <c:pt idx="445">
                  <c:v>Aug-10 </c:v>
                </c:pt>
                <c:pt idx="446">
                  <c:v>Aug-10 </c:v>
                </c:pt>
                <c:pt idx="447">
                  <c:v>Aug-10 </c:v>
                </c:pt>
                <c:pt idx="448">
                  <c:v>Aug-10 </c:v>
                </c:pt>
                <c:pt idx="449">
                  <c:v>Aug-10 </c:v>
                </c:pt>
                <c:pt idx="450">
                  <c:v>Aug-10 </c:v>
                </c:pt>
                <c:pt idx="451">
                  <c:v>Aug-10 </c:v>
                </c:pt>
                <c:pt idx="452">
                  <c:v>Aug-10 </c:v>
                </c:pt>
                <c:pt idx="453">
                  <c:v>Aug-10 </c:v>
                </c:pt>
                <c:pt idx="454">
                  <c:v>Aug-10 </c:v>
                </c:pt>
                <c:pt idx="455">
                  <c:v>Aug-10 </c:v>
                </c:pt>
                <c:pt idx="456">
                  <c:v>Aug-10 </c:v>
                </c:pt>
                <c:pt idx="457">
                  <c:v>Aug-10 </c:v>
                </c:pt>
                <c:pt idx="458">
                  <c:v>Sep-10</c:v>
                </c:pt>
                <c:pt idx="459">
                  <c:v>Sep-10</c:v>
                </c:pt>
                <c:pt idx="460">
                  <c:v>Sep-10</c:v>
                </c:pt>
                <c:pt idx="461">
                  <c:v>Sep-10</c:v>
                </c:pt>
                <c:pt idx="462">
                  <c:v>Sep-10</c:v>
                </c:pt>
                <c:pt idx="463">
                  <c:v>Sep-10</c:v>
                </c:pt>
                <c:pt idx="464">
                  <c:v>Sep-10</c:v>
                </c:pt>
                <c:pt idx="465">
                  <c:v>Sep-10</c:v>
                </c:pt>
                <c:pt idx="466">
                  <c:v>Sep-10</c:v>
                </c:pt>
                <c:pt idx="467">
                  <c:v>Sep-10</c:v>
                </c:pt>
                <c:pt idx="468">
                  <c:v>Sep-10</c:v>
                </c:pt>
                <c:pt idx="469">
                  <c:v>Sep-10</c:v>
                </c:pt>
                <c:pt idx="470">
                  <c:v>Sep-10</c:v>
                </c:pt>
                <c:pt idx="471">
                  <c:v>Sep-10</c:v>
                </c:pt>
                <c:pt idx="472">
                  <c:v>Sep-10</c:v>
                </c:pt>
                <c:pt idx="473">
                  <c:v>Sep-10</c:v>
                </c:pt>
                <c:pt idx="474">
                  <c:v>Sep-10</c:v>
                </c:pt>
                <c:pt idx="475">
                  <c:v>Sep-10</c:v>
                </c:pt>
                <c:pt idx="476">
                  <c:v>Sep-10</c:v>
                </c:pt>
                <c:pt idx="477">
                  <c:v>Sep-10</c:v>
                </c:pt>
                <c:pt idx="478">
                  <c:v>Sep-10</c:v>
                </c:pt>
                <c:pt idx="479">
                  <c:v>Sep-10</c:v>
                </c:pt>
                <c:pt idx="480">
                  <c:v>Oct-10</c:v>
                </c:pt>
                <c:pt idx="481">
                  <c:v>Oct-10</c:v>
                </c:pt>
                <c:pt idx="482">
                  <c:v>Oct-10</c:v>
                </c:pt>
                <c:pt idx="483">
                  <c:v>Oct-10</c:v>
                </c:pt>
                <c:pt idx="484">
                  <c:v>Oct-10</c:v>
                </c:pt>
                <c:pt idx="485">
                  <c:v>Oct-10</c:v>
                </c:pt>
                <c:pt idx="486">
                  <c:v>Oct-10</c:v>
                </c:pt>
                <c:pt idx="487">
                  <c:v>Oct-10</c:v>
                </c:pt>
                <c:pt idx="488">
                  <c:v>Oct-10</c:v>
                </c:pt>
                <c:pt idx="489">
                  <c:v>Oct-10</c:v>
                </c:pt>
                <c:pt idx="490">
                  <c:v>Oct-10</c:v>
                </c:pt>
                <c:pt idx="491">
                  <c:v>Oct-10</c:v>
                </c:pt>
                <c:pt idx="492">
                  <c:v>Oct-10</c:v>
                </c:pt>
                <c:pt idx="493">
                  <c:v>Oct-10</c:v>
                </c:pt>
                <c:pt idx="494">
                  <c:v>Oct-10</c:v>
                </c:pt>
                <c:pt idx="495">
                  <c:v>Oct-10</c:v>
                </c:pt>
                <c:pt idx="496">
                  <c:v>Oct-10</c:v>
                </c:pt>
                <c:pt idx="497">
                  <c:v>Oct-10</c:v>
                </c:pt>
                <c:pt idx="498">
                  <c:v>Oct-10</c:v>
                </c:pt>
                <c:pt idx="499">
                  <c:v>Oct-10</c:v>
                </c:pt>
                <c:pt idx="500">
                  <c:v>Oct-10</c:v>
                </c:pt>
                <c:pt idx="501">
                  <c:v>Nov-10 </c:v>
                </c:pt>
                <c:pt idx="502">
                  <c:v>Nov-10 </c:v>
                </c:pt>
                <c:pt idx="503">
                  <c:v>Nov-10 </c:v>
                </c:pt>
                <c:pt idx="504">
                  <c:v>Nov-10 </c:v>
                </c:pt>
                <c:pt idx="505">
                  <c:v>Nov-10 </c:v>
                </c:pt>
                <c:pt idx="506">
                  <c:v>Nov-10 </c:v>
                </c:pt>
                <c:pt idx="507">
                  <c:v>Nov-10 </c:v>
                </c:pt>
                <c:pt idx="508">
                  <c:v>Nov-10 </c:v>
                </c:pt>
                <c:pt idx="509">
                  <c:v>Nov-10 </c:v>
                </c:pt>
                <c:pt idx="510">
                  <c:v>Nov-10 </c:v>
                </c:pt>
                <c:pt idx="511">
                  <c:v>Nov-10 </c:v>
                </c:pt>
                <c:pt idx="512">
                  <c:v>Nov-10 </c:v>
                </c:pt>
                <c:pt idx="513">
                  <c:v>Nov-10 </c:v>
                </c:pt>
                <c:pt idx="514">
                  <c:v>Nov-10 </c:v>
                </c:pt>
                <c:pt idx="515">
                  <c:v>Nov-10 </c:v>
                </c:pt>
                <c:pt idx="516">
                  <c:v>Nov-10 </c:v>
                </c:pt>
                <c:pt idx="517">
                  <c:v>Nov-10 </c:v>
                </c:pt>
                <c:pt idx="518">
                  <c:v>Nov-10 </c:v>
                </c:pt>
                <c:pt idx="519">
                  <c:v>Nov-10 </c:v>
                </c:pt>
                <c:pt idx="520">
                  <c:v>Nov-10 </c:v>
                </c:pt>
                <c:pt idx="521">
                  <c:v>Nov-10 </c:v>
                </c:pt>
                <c:pt idx="522">
                  <c:v>Nov-10 </c:v>
                </c:pt>
                <c:pt idx="523">
                  <c:v>Dec-10</c:v>
                </c:pt>
                <c:pt idx="524">
                  <c:v>Dec-10</c:v>
                </c:pt>
                <c:pt idx="525">
                  <c:v>Dec-10</c:v>
                </c:pt>
                <c:pt idx="526">
                  <c:v>Dec-10</c:v>
                </c:pt>
                <c:pt idx="527">
                  <c:v>Dec-10</c:v>
                </c:pt>
                <c:pt idx="528">
                  <c:v>Dec-10</c:v>
                </c:pt>
                <c:pt idx="529">
                  <c:v>Dec-10</c:v>
                </c:pt>
                <c:pt idx="530">
                  <c:v>Dec-10</c:v>
                </c:pt>
                <c:pt idx="531">
                  <c:v>Dec-10</c:v>
                </c:pt>
                <c:pt idx="532">
                  <c:v>Dec-10</c:v>
                </c:pt>
                <c:pt idx="533">
                  <c:v>Dec-10</c:v>
                </c:pt>
                <c:pt idx="534">
                  <c:v>Dec-10</c:v>
                </c:pt>
                <c:pt idx="535">
                  <c:v>Dec-10</c:v>
                </c:pt>
                <c:pt idx="536">
                  <c:v>Dec-10</c:v>
                </c:pt>
                <c:pt idx="537">
                  <c:v>Dec-10</c:v>
                </c:pt>
                <c:pt idx="538">
                  <c:v>Dec-10</c:v>
                </c:pt>
                <c:pt idx="539">
                  <c:v>Dec-10</c:v>
                </c:pt>
                <c:pt idx="540">
                  <c:v>Dec-10</c:v>
                </c:pt>
                <c:pt idx="541">
                  <c:v>Dec-10</c:v>
                </c:pt>
                <c:pt idx="542">
                  <c:v>Dec-10</c:v>
                </c:pt>
                <c:pt idx="543">
                  <c:v>Dec-10</c:v>
                </c:pt>
                <c:pt idx="544">
                  <c:v>Dec-10</c:v>
                </c:pt>
                <c:pt idx="545">
                  <c:v>Dec-10</c:v>
                </c:pt>
                <c:pt idx="546">
                  <c:v>Jan-11 </c:v>
                </c:pt>
                <c:pt idx="547">
                  <c:v>Jan-11 </c:v>
                </c:pt>
                <c:pt idx="548">
                  <c:v>Jan-11 </c:v>
                </c:pt>
                <c:pt idx="549">
                  <c:v>Jan-11 </c:v>
                </c:pt>
                <c:pt idx="550">
                  <c:v>Jan-11 </c:v>
                </c:pt>
                <c:pt idx="551">
                  <c:v>Jan-11 </c:v>
                </c:pt>
                <c:pt idx="552">
                  <c:v>Jan-11 </c:v>
                </c:pt>
                <c:pt idx="553">
                  <c:v>Jan-11 </c:v>
                </c:pt>
                <c:pt idx="554">
                  <c:v>Jan-11 </c:v>
                </c:pt>
                <c:pt idx="555">
                  <c:v>Jan-11 </c:v>
                </c:pt>
                <c:pt idx="556">
                  <c:v>Jan-11 </c:v>
                </c:pt>
                <c:pt idx="557">
                  <c:v>Jan-11 </c:v>
                </c:pt>
                <c:pt idx="558">
                  <c:v>Jan-11 </c:v>
                </c:pt>
                <c:pt idx="559">
                  <c:v>Jan-11 </c:v>
                </c:pt>
                <c:pt idx="560">
                  <c:v>Jan-11 </c:v>
                </c:pt>
                <c:pt idx="561">
                  <c:v>Jan-11 </c:v>
                </c:pt>
                <c:pt idx="562">
                  <c:v>Jan-11 </c:v>
                </c:pt>
                <c:pt idx="563">
                  <c:v>Jan-11 </c:v>
                </c:pt>
                <c:pt idx="564">
                  <c:v>Jan-11 </c:v>
                </c:pt>
                <c:pt idx="565">
                  <c:v>Jan-11 </c:v>
                </c:pt>
                <c:pt idx="566">
                  <c:v>Jan-11 </c:v>
                </c:pt>
                <c:pt idx="567">
                  <c:v>Feb-11 </c:v>
                </c:pt>
                <c:pt idx="568">
                  <c:v>Feb-11 </c:v>
                </c:pt>
                <c:pt idx="569">
                  <c:v>Feb-11 </c:v>
                </c:pt>
                <c:pt idx="570">
                  <c:v>Feb-11 </c:v>
                </c:pt>
                <c:pt idx="571">
                  <c:v>Feb-11 </c:v>
                </c:pt>
                <c:pt idx="572">
                  <c:v>Feb-11 </c:v>
                </c:pt>
                <c:pt idx="573">
                  <c:v>Feb-11 </c:v>
                </c:pt>
                <c:pt idx="574">
                  <c:v>Feb-11 </c:v>
                </c:pt>
                <c:pt idx="575">
                  <c:v>Feb-11 </c:v>
                </c:pt>
                <c:pt idx="576">
                  <c:v>Feb-11 </c:v>
                </c:pt>
                <c:pt idx="577">
                  <c:v>Feb-11 </c:v>
                </c:pt>
                <c:pt idx="578">
                  <c:v>Feb-11 </c:v>
                </c:pt>
                <c:pt idx="579">
                  <c:v>Feb-11 </c:v>
                </c:pt>
                <c:pt idx="580">
                  <c:v>Feb-11 </c:v>
                </c:pt>
                <c:pt idx="581">
                  <c:v>Feb-11 </c:v>
                </c:pt>
                <c:pt idx="582">
                  <c:v>Feb-11 </c:v>
                </c:pt>
                <c:pt idx="583">
                  <c:v>Feb-11 </c:v>
                </c:pt>
                <c:pt idx="584">
                  <c:v>Feb-11 </c:v>
                </c:pt>
                <c:pt idx="585">
                  <c:v>Feb-11 </c:v>
                </c:pt>
                <c:pt idx="586">
                  <c:v>Feb-11 </c:v>
                </c:pt>
                <c:pt idx="587">
                  <c:v>Mar-11 </c:v>
                </c:pt>
                <c:pt idx="588">
                  <c:v>Mar-11 </c:v>
                </c:pt>
                <c:pt idx="589">
                  <c:v>Mar-11 </c:v>
                </c:pt>
                <c:pt idx="590">
                  <c:v>Mar-11 </c:v>
                </c:pt>
                <c:pt idx="591">
                  <c:v>Mar-11 </c:v>
                </c:pt>
                <c:pt idx="592">
                  <c:v>Mar-11 </c:v>
                </c:pt>
                <c:pt idx="593">
                  <c:v>Mar-11 </c:v>
                </c:pt>
                <c:pt idx="594">
                  <c:v>Mar-11 </c:v>
                </c:pt>
                <c:pt idx="595">
                  <c:v>Mar-11 </c:v>
                </c:pt>
                <c:pt idx="596">
                  <c:v>Mar-11 </c:v>
                </c:pt>
                <c:pt idx="597">
                  <c:v>Mar-11 </c:v>
                </c:pt>
                <c:pt idx="598">
                  <c:v>Mar-11 </c:v>
                </c:pt>
                <c:pt idx="599">
                  <c:v>Mar-11 </c:v>
                </c:pt>
                <c:pt idx="600">
                  <c:v>Mar-11 </c:v>
                </c:pt>
                <c:pt idx="601">
                  <c:v>Mar-11 </c:v>
                </c:pt>
                <c:pt idx="602">
                  <c:v>Mar-11 </c:v>
                </c:pt>
                <c:pt idx="603">
                  <c:v>Mar-11 </c:v>
                </c:pt>
                <c:pt idx="604">
                  <c:v>Mar-11 </c:v>
                </c:pt>
                <c:pt idx="605">
                  <c:v>Mar-11 </c:v>
                </c:pt>
                <c:pt idx="606">
                  <c:v>Mar-11 </c:v>
                </c:pt>
                <c:pt idx="607">
                  <c:v>Mar-11 </c:v>
                </c:pt>
                <c:pt idx="608">
                  <c:v>Mar-11 </c:v>
                </c:pt>
                <c:pt idx="609">
                  <c:v>Mar-11 </c:v>
                </c:pt>
                <c:pt idx="610">
                  <c:v>Apr-11</c:v>
                </c:pt>
                <c:pt idx="611">
                  <c:v>Apr-11</c:v>
                </c:pt>
                <c:pt idx="612">
                  <c:v>Apr-11</c:v>
                </c:pt>
                <c:pt idx="613">
                  <c:v>Apr-11</c:v>
                </c:pt>
                <c:pt idx="614">
                  <c:v>Apr-11</c:v>
                </c:pt>
                <c:pt idx="615">
                  <c:v>Apr-11</c:v>
                </c:pt>
                <c:pt idx="616">
                  <c:v>Apr-11</c:v>
                </c:pt>
                <c:pt idx="617">
                  <c:v>Apr-11</c:v>
                </c:pt>
                <c:pt idx="618">
                  <c:v>Apr-11</c:v>
                </c:pt>
                <c:pt idx="619">
                  <c:v>Apr-11</c:v>
                </c:pt>
                <c:pt idx="620">
                  <c:v>Apr-11</c:v>
                </c:pt>
                <c:pt idx="621">
                  <c:v>Apr-11</c:v>
                </c:pt>
                <c:pt idx="622">
                  <c:v>Apr-11</c:v>
                </c:pt>
                <c:pt idx="623">
                  <c:v>Apr-11</c:v>
                </c:pt>
                <c:pt idx="624">
                  <c:v>Apr-11</c:v>
                </c:pt>
                <c:pt idx="625">
                  <c:v>Apr-11</c:v>
                </c:pt>
                <c:pt idx="626">
                  <c:v>Apr-11</c:v>
                </c:pt>
                <c:pt idx="627">
                  <c:v>Apr-11</c:v>
                </c:pt>
                <c:pt idx="628">
                  <c:v>Apr-11</c:v>
                </c:pt>
                <c:pt idx="629">
                  <c:v>May-11 </c:v>
                </c:pt>
                <c:pt idx="630">
                  <c:v>May-11 </c:v>
                </c:pt>
                <c:pt idx="631">
                  <c:v>May-11 </c:v>
                </c:pt>
                <c:pt idx="632">
                  <c:v>May-11 </c:v>
                </c:pt>
                <c:pt idx="633">
                  <c:v>May-11 </c:v>
                </c:pt>
                <c:pt idx="634">
                  <c:v>May-11 </c:v>
                </c:pt>
                <c:pt idx="635">
                  <c:v>May-11 </c:v>
                </c:pt>
                <c:pt idx="636">
                  <c:v>May-11 </c:v>
                </c:pt>
                <c:pt idx="637">
                  <c:v>May-11 </c:v>
                </c:pt>
                <c:pt idx="638">
                  <c:v>May-11 </c:v>
                </c:pt>
                <c:pt idx="639">
                  <c:v>May-11 </c:v>
                </c:pt>
                <c:pt idx="640">
                  <c:v>May-11 </c:v>
                </c:pt>
                <c:pt idx="641">
                  <c:v>May-11 </c:v>
                </c:pt>
                <c:pt idx="642">
                  <c:v>May-11 </c:v>
                </c:pt>
                <c:pt idx="643">
                  <c:v>May-11 </c:v>
                </c:pt>
                <c:pt idx="644">
                  <c:v>May-11 </c:v>
                </c:pt>
                <c:pt idx="645">
                  <c:v>May-11 </c:v>
                </c:pt>
                <c:pt idx="646">
                  <c:v>May-11 </c:v>
                </c:pt>
                <c:pt idx="647">
                  <c:v>May-11 </c:v>
                </c:pt>
                <c:pt idx="648">
                  <c:v>May-11 </c:v>
                </c:pt>
                <c:pt idx="649">
                  <c:v>May-11 </c:v>
                </c:pt>
                <c:pt idx="650">
                  <c:v>May-11 </c:v>
                </c:pt>
                <c:pt idx="651">
                  <c:v>Jun-11 </c:v>
                </c:pt>
                <c:pt idx="652">
                  <c:v>Jun-11 </c:v>
                </c:pt>
                <c:pt idx="653">
                  <c:v>Jun-11 </c:v>
                </c:pt>
                <c:pt idx="654">
                  <c:v>Jun-11 </c:v>
                </c:pt>
                <c:pt idx="655">
                  <c:v>Jun-11 </c:v>
                </c:pt>
                <c:pt idx="656">
                  <c:v>Jun-11 </c:v>
                </c:pt>
                <c:pt idx="657">
                  <c:v>Jun-11 </c:v>
                </c:pt>
                <c:pt idx="658">
                  <c:v>Jun-11 </c:v>
                </c:pt>
                <c:pt idx="659">
                  <c:v>Jun-11 </c:v>
                </c:pt>
                <c:pt idx="660">
                  <c:v>Jun-11 </c:v>
                </c:pt>
                <c:pt idx="661">
                  <c:v>Jun-11 </c:v>
                </c:pt>
                <c:pt idx="662">
                  <c:v>Jun-11 </c:v>
                </c:pt>
                <c:pt idx="663">
                  <c:v>Jun-11 </c:v>
                </c:pt>
                <c:pt idx="664">
                  <c:v>Jun-11 </c:v>
                </c:pt>
                <c:pt idx="665">
                  <c:v>Jun-11 </c:v>
                </c:pt>
                <c:pt idx="666">
                  <c:v>Jun-11 </c:v>
                </c:pt>
                <c:pt idx="667">
                  <c:v>Jun-11 </c:v>
                </c:pt>
                <c:pt idx="668">
                  <c:v>Jun-11 </c:v>
                </c:pt>
                <c:pt idx="669">
                  <c:v>Jun-11 </c:v>
                </c:pt>
                <c:pt idx="670">
                  <c:v>Jun-11 </c:v>
                </c:pt>
                <c:pt idx="671">
                  <c:v>Jun-11 </c:v>
                </c:pt>
                <c:pt idx="672">
                  <c:v>Jun-11 </c:v>
                </c:pt>
                <c:pt idx="673">
                  <c:v>Jul-11</c:v>
                </c:pt>
                <c:pt idx="674">
                  <c:v>Jul-11</c:v>
                </c:pt>
                <c:pt idx="675">
                  <c:v>Jul-11</c:v>
                </c:pt>
                <c:pt idx="676">
                  <c:v>Jul-11</c:v>
                </c:pt>
                <c:pt idx="677">
                  <c:v>Jul-11</c:v>
                </c:pt>
                <c:pt idx="678">
                  <c:v>Jul-11</c:v>
                </c:pt>
                <c:pt idx="679">
                  <c:v>Jul-11</c:v>
                </c:pt>
                <c:pt idx="680">
                  <c:v>Jul-11</c:v>
                </c:pt>
                <c:pt idx="681">
                  <c:v>Jul-11</c:v>
                </c:pt>
                <c:pt idx="682">
                  <c:v>Jul-11</c:v>
                </c:pt>
                <c:pt idx="683">
                  <c:v>Jul-11</c:v>
                </c:pt>
                <c:pt idx="684">
                  <c:v>Jul-11</c:v>
                </c:pt>
                <c:pt idx="685">
                  <c:v>Jul-11</c:v>
                </c:pt>
                <c:pt idx="686">
                  <c:v>Jul-11</c:v>
                </c:pt>
                <c:pt idx="687">
                  <c:v>Jul-11</c:v>
                </c:pt>
                <c:pt idx="688">
                  <c:v>Jul-11</c:v>
                </c:pt>
                <c:pt idx="689">
                  <c:v>Jul-11</c:v>
                </c:pt>
                <c:pt idx="690">
                  <c:v>Jul-11</c:v>
                </c:pt>
                <c:pt idx="691">
                  <c:v>Jul-11</c:v>
                </c:pt>
                <c:pt idx="692">
                  <c:v>Jul-11</c:v>
                </c:pt>
                <c:pt idx="693">
                  <c:v>Jul-11</c:v>
                </c:pt>
                <c:pt idx="694">
                  <c:v>Aug-11 </c:v>
                </c:pt>
                <c:pt idx="695">
                  <c:v>Aug-11 </c:v>
                </c:pt>
                <c:pt idx="696">
                  <c:v>Aug-11 </c:v>
                </c:pt>
                <c:pt idx="697">
                  <c:v>Aug-11 </c:v>
                </c:pt>
                <c:pt idx="698">
                  <c:v>Aug-11 </c:v>
                </c:pt>
                <c:pt idx="699">
                  <c:v>Aug-11 </c:v>
                </c:pt>
                <c:pt idx="700">
                  <c:v>Aug-11 </c:v>
                </c:pt>
                <c:pt idx="701">
                  <c:v>Aug-11 </c:v>
                </c:pt>
                <c:pt idx="702">
                  <c:v>Aug-11 </c:v>
                </c:pt>
                <c:pt idx="703">
                  <c:v>Aug-11 </c:v>
                </c:pt>
                <c:pt idx="704">
                  <c:v>Aug-11 </c:v>
                </c:pt>
                <c:pt idx="705">
                  <c:v>Aug-11 </c:v>
                </c:pt>
                <c:pt idx="706">
                  <c:v>Aug-11 </c:v>
                </c:pt>
                <c:pt idx="707">
                  <c:v>Aug-11 </c:v>
                </c:pt>
                <c:pt idx="708">
                  <c:v>Aug-11 </c:v>
                </c:pt>
                <c:pt idx="709">
                  <c:v>Aug-11 </c:v>
                </c:pt>
                <c:pt idx="710">
                  <c:v>Aug-11 </c:v>
                </c:pt>
                <c:pt idx="711">
                  <c:v>Aug-11 </c:v>
                </c:pt>
                <c:pt idx="712">
                  <c:v>Aug-11 </c:v>
                </c:pt>
                <c:pt idx="713">
                  <c:v>Aug-11 </c:v>
                </c:pt>
                <c:pt idx="714">
                  <c:v>Aug-11 </c:v>
                </c:pt>
                <c:pt idx="715">
                  <c:v>Aug-11 </c:v>
                </c:pt>
                <c:pt idx="716">
                  <c:v>Aug-11 </c:v>
                </c:pt>
                <c:pt idx="717">
                  <c:v>Sep-11</c:v>
                </c:pt>
                <c:pt idx="718">
                  <c:v>Sep-11</c:v>
                </c:pt>
                <c:pt idx="719">
                  <c:v>Sep-11</c:v>
                </c:pt>
                <c:pt idx="720">
                  <c:v>Sep-11</c:v>
                </c:pt>
                <c:pt idx="721">
                  <c:v>Sep-11</c:v>
                </c:pt>
                <c:pt idx="722">
                  <c:v>Sep-11</c:v>
                </c:pt>
                <c:pt idx="723">
                  <c:v>Sep-11</c:v>
                </c:pt>
                <c:pt idx="724">
                  <c:v>Sep-11</c:v>
                </c:pt>
                <c:pt idx="725">
                  <c:v>Sep-11</c:v>
                </c:pt>
                <c:pt idx="726">
                  <c:v>Sep-11</c:v>
                </c:pt>
                <c:pt idx="727">
                  <c:v>Sep-11</c:v>
                </c:pt>
                <c:pt idx="728">
                  <c:v>Sep-11</c:v>
                </c:pt>
                <c:pt idx="729">
                  <c:v>Sep-11</c:v>
                </c:pt>
                <c:pt idx="730">
                  <c:v>Sep-11</c:v>
                </c:pt>
                <c:pt idx="731">
                  <c:v>Sep-11</c:v>
                </c:pt>
                <c:pt idx="732">
                  <c:v>Sep-11</c:v>
                </c:pt>
                <c:pt idx="733">
                  <c:v>Sep-11</c:v>
                </c:pt>
                <c:pt idx="734">
                  <c:v>Sep-11</c:v>
                </c:pt>
                <c:pt idx="735">
                  <c:v>Sep-11</c:v>
                </c:pt>
                <c:pt idx="736">
                  <c:v>Sep-11</c:v>
                </c:pt>
                <c:pt idx="737">
                  <c:v>Sep-11</c:v>
                </c:pt>
                <c:pt idx="738">
                  <c:v>Sep-11</c:v>
                </c:pt>
                <c:pt idx="739">
                  <c:v>Oct-11</c:v>
                </c:pt>
                <c:pt idx="740">
                  <c:v>Oct-11</c:v>
                </c:pt>
                <c:pt idx="741">
                  <c:v>Oct-11</c:v>
                </c:pt>
                <c:pt idx="742">
                  <c:v>Oct-11</c:v>
                </c:pt>
                <c:pt idx="743">
                  <c:v>Oct-11</c:v>
                </c:pt>
                <c:pt idx="744">
                  <c:v>Oct-11</c:v>
                </c:pt>
                <c:pt idx="745">
                  <c:v>Oct-11</c:v>
                </c:pt>
                <c:pt idx="746">
                  <c:v>Oct-11</c:v>
                </c:pt>
                <c:pt idx="747">
                  <c:v>Oct-11</c:v>
                </c:pt>
                <c:pt idx="748">
                  <c:v>Oct-11</c:v>
                </c:pt>
                <c:pt idx="749">
                  <c:v>Oct-11</c:v>
                </c:pt>
                <c:pt idx="750">
                  <c:v>Oct-11</c:v>
                </c:pt>
                <c:pt idx="751">
                  <c:v>Oct-11</c:v>
                </c:pt>
                <c:pt idx="752">
                  <c:v>Oct-11</c:v>
                </c:pt>
                <c:pt idx="753">
                  <c:v>Oct-11</c:v>
                </c:pt>
                <c:pt idx="754">
                  <c:v>Oct-11</c:v>
                </c:pt>
                <c:pt idx="755">
                  <c:v>Oct-11</c:v>
                </c:pt>
                <c:pt idx="756">
                  <c:v>Oct-11</c:v>
                </c:pt>
                <c:pt idx="757">
                  <c:v>Oct-11</c:v>
                </c:pt>
                <c:pt idx="758">
                  <c:v>Oct-11</c:v>
                </c:pt>
                <c:pt idx="759">
                  <c:v>Oct-11</c:v>
                </c:pt>
                <c:pt idx="760">
                  <c:v>Nov-11 </c:v>
                </c:pt>
                <c:pt idx="761">
                  <c:v>Nov-11 </c:v>
                </c:pt>
                <c:pt idx="762">
                  <c:v>Nov-11 </c:v>
                </c:pt>
                <c:pt idx="763">
                  <c:v>Nov-11 </c:v>
                </c:pt>
                <c:pt idx="764">
                  <c:v>Nov-11 </c:v>
                </c:pt>
                <c:pt idx="765">
                  <c:v>Nov-11 </c:v>
                </c:pt>
                <c:pt idx="766">
                  <c:v>Nov-11 </c:v>
                </c:pt>
                <c:pt idx="767">
                  <c:v>Nov-11 </c:v>
                </c:pt>
                <c:pt idx="768">
                  <c:v>Nov-11 </c:v>
                </c:pt>
                <c:pt idx="769">
                  <c:v>Nov-11 </c:v>
                </c:pt>
                <c:pt idx="770">
                  <c:v>Nov-11 </c:v>
                </c:pt>
                <c:pt idx="771">
                  <c:v>Nov-11 </c:v>
                </c:pt>
                <c:pt idx="772">
                  <c:v>Nov-11 </c:v>
                </c:pt>
                <c:pt idx="773">
                  <c:v>Nov-11 </c:v>
                </c:pt>
                <c:pt idx="774">
                  <c:v>Nov-11 </c:v>
                </c:pt>
                <c:pt idx="775">
                  <c:v>Nov-11 </c:v>
                </c:pt>
                <c:pt idx="776">
                  <c:v>Nov-11 </c:v>
                </c:pt>
                <c:pt idx="777">
                  <c:v>Nov-11 </c:v>
                </c:pt>
                <c:pt idx="778">
                  <c:v>Nov-11 </c:v>
                </c:pt>
                <c:pt idx="779">
                  <c:v>Nov-11 </c:v>
                </c:pt>
                <c:pt idx="780">
                  <c:v>Nov-11 </c:v>
                </c:pt>
                <c:pt idx="781">
                  <c:v>Nov-11 </c:v>
                </c:pt>
                <c:pt idx="782">
                  <c:v>Dec-11</c:v>
                </c:pt>
                <c:pt idx="783">
                  <c:v>Dec-11</c:v>
                </c:pt>
                <c:pt idx="784">
                  <c:v>Dec-11</c:v>
                </c:pt>
                <c:pt idx="785">
                  <c:v>Dec-11</c:v>
                </c:pt>
                <c:pt idx="786">
                  <c:v>Dec-11</c:v>
                </c:pt>
                <c:pt idx="787">
                  <c:v>Dec-11</c:v>
                </c:pt>
                <c:pt idx="788">
                  <c:v>Dec-11</c:v>
                </c:pt>
                <c:pt idx="789">
                  <c:v>Dec-11</c:v>
                </c:pt>
                <c:pt idx="790">
                  <c:v>Dec-11</c:v>
                </c:pt>
                <c:pt idx="791">
                  <c:v>Dec-11</c:v>
                </c:pt>
                <c:pt idx="792">
                  <c:v>Dec-11</c:v>
                </c:pt>
                <c:pt idx="793">
                  <c:v>Dec-11</c:v>
                </c:pt>
                <c:pt idx="794">
                  <c:v>Dec-11</c:v>
                </c:pt>
                <c:pt idx="795">
                  <c:v>Dec-11</c:v>
                </c:pt>
                <c:pt idx="796">
                  <c:v>Dec-11</c:v>
                </c:pt>
                <c:pt idx="797">
                  <c:v>Dec-11</c:v>
                </c:pt>
                <c:pt idx="798">
                  <c:v>Dec-11</c:v>
                </c:pt>
                <c:pt idx="799">
                  <c:v>Dec-11</c:v>
                </c:pt>
                <c:pt idx="800">
                  <c:v>Dec-11</c:v>
                </c:pt>
                <c:pt idx="801">
                  <c:v>Dec-11</c:v>
                </c:pt>
                <c:pt idx="802">
                  <c:v>Dec-11</c:v>
                </c:pt>
                <c:pt idx="803">
                  <c:v>Jan-12 </c:v>
                </c:pt>
                <c:pt idx="804">
                  <c:v>Jan-12 </c:v>
                </c:pt>
                <c:pt idx="805">
                  <c:v>Jan-12 </c:v>
                </c:pt>
                <c:pt idx="806">
                  <c:v>Jan-12 </c:v>
                </c:pt>
                <c:pt idx="807">
                  <c:v>Jan-12 </c:v>
                </c:pt>
                <c:pt idx="808">
                  <c:v>Jan-12 </c:v>
                </c:pt>
                <c:pt idx="809">
                  <c:v>Jan-12 </c:v>
                </c:pt>
                <c:pt idx="810">
                  <c:v>Jan-12 </c:v>
                </c:pt>
                <c:pt idx="811">
                  <c:v>Jan-12 </c:v>
                </c:pt>
                <c:pt idx="812">
                  <c:v>Jan-12 </c:v>
                </c:pt>
                <c:pt idx="813">
                  <c:v>Jan-12 </c:v>
                </c:pt>
                <c:pt idx="814">
                  <c:v>Jan-12 </c:v>
                </c:pt>
                <c:pt idx="815">
                  <c:v>Jan-12 </c:v>
                </c:pt>
                <c:pt idx="816">
                  <c:v>Jan-12 </c:v>
                </c:pt>
                <c:pt idx="817">
                  <c:v>Jan-12 </c:v>
                </c:pt>
                <c:pt idx="818">
                  <c:v>Jan-12 </c:v>
                </c:pt>
                <c:pt idx="819">
                  <c:v>Jan-12 </c:v>
                </c:pt>
                <c:pt idx="820">
                  <c:v>Jan-12 </c:v>
                </c:pt>
                <c:pt idx="821">
                  <c:v>Jan-12 </c:v>
                </c:pt>
                <c:pt idx="822">
                  <c:v>Jan-12 </c:v>
                </c:pt>
                <c:pt idx="823">
                  <c:v>Jan-12 </c:v>
                </c:pt>
                <c:pt idx="824">
                  <c:v>Jan-12 </c:v>
                </c:pt>
                <c:pt idx="825">
                  <c:v>Feb-12 </c:v>
                </c:pt>
                <c:pt idx="826">
                  <c:v>Feb-12 </c:v>
                </c:pt>
                <c:pt idx="827">
                  <c:v>Feb-12 </c:v>
                </c:pt>
                <c:pt idx="828">
                  <c:v>Feb-12 </c:v>
                </c:pt>
                <c:pt idx="829">
                  <c:v>Feb-12 </c:v>
                </c:pt>
                <c:pt idx="830">
                  <c:v>Feb-12 </c:v>
                </c:pt>
                <c:pt idx="831">
                  <c:v>Feb-12 </c:v>
                </c:pt>
                <c:pt idx="832">
                  <c:v>Feb-12 </c:v>
                </c:pt>
                <c:pt idx="833">
                  <c:v>Feb-12 </c:v>
                </c:pt>
                <c:pt idx="834">
                  <c:v>Feb-12 </c:v>
                </c:pt>
                <c:pt idx="835">
                  <c:v>Feb-12 </c:v>
                </c:pt>
                <c:pt idx="836">
                  <c:v>Feb-12 </c:v>
                </c:pt>
                <c:pt idx="837">
                  <c:v>Feb-12 </c:v>
                </c:pt>
                <c:pt idx="838">
                  <c:v>Feb-12 </c:v>
                </c:pt>
                <c:pt idx="839">
                  <c:v>Feb-12 </c:v>
                </c:pt>
                <c:pt idx="840">
                  <c:v>Feb-12 </c:v>
                </c:pt>
                <c:pt idx="841">
                  <c:v>Feb-12 </c:v>
                </c:pt>
                <c:pt idx="842">
                  <c:v>Feb-12 </c:v>
                </c:pt>
                <c:pt idx="843">
                  <c:v>Feb-12 </c:v>
                </c:pt>
                <c:pt idx="844">
                  <c:v>Feb-12 </c:v>
                </c:pt>
                <c:pt idx="845">
                  <c:v>Feb-12 </c:v>
                </c:pt>
                <c:pt idx="846">
                  <c:v>Mar-12 </c:v>
                </c:pt>
                <c:pt idx="847">
                  <c:v>Mar-12 </c:v>
                </c:pt>
                <c:pt idx="848">
                  <c:v>Mar-12 </c:v>
                </c:pt>
                <c:pt idx="849">
                  <c:v>Mar-12 </c:v>
                </c:pt>
                <c:pt idx="850">
                  <c:v>Mar-12 </c:v>
                </c:pt>
                <c:pt idx="851">
                  <c:v>Mar-12 </c:v>
                </c:pt>
                <c:pt idx="852">
                  <c:v>Mar-12 </c:v>
                </c:pt>
                <c:pt idx="853">
                  <c:v>Mar-12 </c:v>
                </c:pt>
                <c:pt idx="854">
                  <c:v>Mar-12 </c:v>
                </c:pt>
                <c:pt idx="855">
                  <c:v>Mar-12 </c:v>
                </c:pt>
                <c:pt idx="856">
                  <c:v>Mar-12 </c:v>
                </c:pt>
                <c:pt idx="857">
                  <c:v>Mar-12 </c:v>
                </c:pt>
                <c:pt idx="858">
                  <c:v>Mar-12 </c:v>
                </c:pt>
                <c:pt idx="859">
                  <c:v>Mar-12 </c:v>
                </c:pt>
                <c:pt idx="860">
                  <c:v>Mar-12 </c:v>
                </c:pt>
                <c:pt idx="861">
                  <c:v>Mar-12 </c:v>
                </c:pt>
                <c:pt idx="862">
                  <c:v>Mar-12 </c:v>
                </c:pt>
                <c:pt idx="863">
                  <c:v>Mar-12 </c:v>
                </c:pt>
                <c:pt idx="864">
                  <c:v>Mar-12 </c:v>
                </c:pt>
                <c:pt idx="865">
                  <c:v>Mar-12 </c:v>
                </c:pt>
                <c:pt idx="866">
                  <c:v>Mar-12 </c:v>
                </c:pt>
                <c:pt idx="867">
                  <c:v>Mar-12 </c:v>
                </c:pt>
                <c:pt idx="868">
                  <c:v>Apr-12</c:v>
                </c:pt>
                <c:pt idx="869">
                  <c:v>Apr-12</c:v>
                </c:pt>
                <c:pt idx="870">
                  <c:v>Apr-12</c:v>
                </c:pt>
                <c:pt idx="871">
                  <c:v>Apr-12</c:v>
                </c:pt>
                <c:pt idx="872">
                  <c:v>Apr-12</c:v>
                </c:pt>
                <c:pt idx="873">
                  <c:v>Apr-12</c:v>
                </c:pt>
                <c:pt idx="874">
                  <c:v>Apr-12</c:v>
                </c:pt>
                <c:pt idx="875">
                  <c:v>Apr-12</c:v>
                </c:pt>
                <c:pt idx="876">
                  <c:v>Apr-12</c:v>
                </c:pt>
                <c:pt idx="877">
                  <c:v>Apr-12</c:v>
                </c:pt>
                <c:pt idx="878">
                  <c:v>Apr-12</c:v>
                </c:pt>
                <c:pt idx="879">
                  <c:v>Apr-12</c:v>
                </c:pt>
                <c:pt idx="880">
                  <c:v>Apr-12</c:v>
                </c:pt>
                <c:pt idx="881">
                  <c:v>Apr-12</c:v>
                </c:pt>
                <c:pt idx="882">
                  <c:v>Apr-12</c:v>
                </c:pt>
                <c:pt idx="883">
                  <c:v>Apr-12</c:v>
                </c:pt>
                <c:pt idx="884">
                  <c:v>Apr-12</c:v>
                </c:pt>
                <c:pt idx="885">
                  <c:v>Apr-12</c:v>
                </c:pt>
                <c:pt idx="886">
                  <c:v>Apr-12</c:v>
                </c:pt>
                <c:pt idx="887">
                  <c:v>May-12 </c:v>
                </c:pt>
                <c:pt idx="888">
                  <c:v>May-12 </c:v>
                </c:pt>
                <c:pt idx="889">
                  <c:v>May-12 </c:v>
                </c:pt>
                <c:pt idx="890">
                  <c:v>May-12 </c:v>
                </c:pt>
                <c:pt idx="891">
                  <c:v>May-12 </c:v>
                </c:pt>
                <c:pt idx="892">
                  <c:v>May-12 </c:v>
                </c:pt>
                <c:pt idx="893">
                  <c:v>May-12 </c:v>
                </c:pt>
                <c:pt idx="894">
                  <c:v>May-12 </c:v>
                </c:pt>
                <c:pt idx="895">
                  <c:v>May-12 </c:v>
                </c:pt>
                <c:pt idx="896">
                  <c:v>May-12 </c:v>
                </c:pt>
                <c:pt idx="897">
                  <c:v>May-12 </c:v>
                </c:pt>
                <c:pt idx="898">
                  <c:v>May-12 </c:v>
                </c:pt>
                <c:pt idx="899">
                  <c:v>May-12 </c:v>
                </c:pt>
                <c:pt idx="900">
                  <c:v>May-12 </c:v>
                </c:pt>
                <c:pt idx="901">
                  <c:v>May-12 </c:v>
                </c:pt>
                <c:pt idx="902">
                  <c:v>May-12 </c:v>
                </c:pt>
                <c:pt idx="903">
                  <c:v>May-12 </c:v>
                </c:pt>
                <c:pt idx="904">
                  <c:v>May-12 </c:v>
                </c:pt>
                <c:pt idx="905">
                  <c:v>May-12 </c:v>
                </c:pt>
                <c:pt idx="906">
                  <c:v>May-12 </c:v>
                </c:pt>
                <c:pt idx="907">
                  <c:v>May-12 </c:v>
                </c:pt>
                <c:pt idx="908">
                  <c:v>May-12 </c:v>
                </c:pt>
                <c:pt idx="909">
                  <c:v>May-12 </c:v>
                </c:pt>
                <c:pt idx="910">
                  <c:v>Jun-12 </c:v>
                </c:pt>
                <c:pt idx="911">
                  <c:v>Jun-12 </c:v>
                </c:pt>
                <c:pt idx="912">
                  <c:v>Jun-12 </c:v>
                </c:pt>
                <c:pt idx="913">
                  <c:v>Jun-12 </c:v>
                </c:pt>
                <c:pt idx="914">
                  <c:v>Jun-12 </c:v>
                </c:pt>
                <c:pt idx="915">
                  <c:v>Jun-12 </c:v>
                </c:pt>
                <c:pt idx="916">
                  <c:v>Jun-12 </c:v>
                </c:pt>
                <c:pt idx="917">
                  <c:v>Jun-12 </c:v>
                </c:pt>
                <c:pt idx="918">
                  <c:v>Jun-12 </c:v>
                </c:pt>
                <c:pt idx="919">
                  <c:v>Jun-12 </c:v>
                </c:pt>
                <c:pt idx="920">
                  <c:v>Jun-12 </c:v>
                </c:pt>
                <c:pt idx="921">
                  <c:v>Jun-12 </c:v>
                </c:pt>
                <c:pt idx="922">
                  <c:v>Jun-12 </c:v>
                </c:pt>
                <c:pt idx="923">
                  <c:v>Jun-12 </c:v>
                </c:pt>
                <c:pt idx="924">
                  <c:v>Jun-12 </c:v>
                </c:pt>
                <c:pt idx="925">
                  <c:v>Jun-12 </c:v>
                </c:pt>
                <c:pt idx="926">
                  <c:v>Jun-12 </c:v>
                </c:pt>
                <c:pt idx="927">
                  <c:v>Jun-12 </c:v>
                </c:pt>
                <c:pt idx="928">
                  <c:v>Jun-12 </c:v>
                </c:pt>
                <c:pt idx="929">
                  <c:v>Jun-12 </c:v>
                </c:pt>
                <c:pt idx="930">
                  <c:v>Jun-12 </c:v>
                </c:pt>
                <c:pt idx="931">
                  <c:v>Jul-12</c:v>
                </c:pt>
                <c:pt idx="932">
                  <c:v>Jul-12</c:v>
                </c:pt>
                <c:pt idx="933">
                  <c:v>Jul-12</c:v>
                </c:pt>
                <c:pt idx="934">
                  <c:v>Jul-12</c:v>
                </c:pt>
                <c:pt idx="935">
                  <c:v>Jul-12</c:v>
                </c:pt>
                <c:pt idx="936">
                  <c:v>Jul-12</c:v>
                </c:pt>
                <c:pt idx="937">
                  <c:v>Jul-12</c:v>
                </c:pt>
                <c:pt idx="938">
                  <c:v>Jul-12</c:v>
                </c:pt>
                <c:pt idx="939">
                  <c:v>Jul-12</c:v>
                </c:pt>
                <c:pt idx="940">
                  <c:v>Jul-12</c:v>
                </c:pt>
                <c:pt idx="941">
                  <c:v>Jul-12</c:v>
                </c:pt>
                <c:pt idx="942">
                  <c:v>Jul-12</c:v>
                </c:pt>
                <c:pt idx="943">
                  <c:v>Jul-12</c:v>
                </c:pt>
                <c:pt idx="944">
                  <c:v>Jul-12</c:v>
                </c:pt>
                <c:pt idx="945">
                  <c:v>Jul-12</c:v>
                </c:pt>
                <c:pt idx="946">
                  <c:v>Jul-12</c:v>
                </c:pt>
                <c:pt idx="947">
                  <c:v>Jul-12</c:v>
                </c:pt>
                <c:pt idx="948">
                  <c:v>Jul-12</c:v>
                </c:pt>
                <c:pt idx="949">
                  <c:v>Jul-12</c:v>
                </c:pt>
                <c:pt idx="950">
                  <c:v>Jul-12</c:v>
                </c:pt>
                <c:pt idx="951">
                  <c:v>Jul-12</c:v>
                </c:pt>
                <c:pt idx="952">
                  <c:v>Jul-12</c:v>
                </c:pt>
                <c:pt idx="953">
                  <c:v>Aug-12 </c:v>
                </c:pt>
                <c:pt idx="954">
                  <c:v>Aug-12 </c:v>
                </c:pt>
                <c:pt idx="955">
                  <c:v>Aug-12 </c:v>
                </c:pt>
                <c:pt idx="956">
                  <c:v>Aug-12 </c:v>
                </c:pt>
                <c:pt idx="957">
                  <c:v>Aug-12 </c:v>
                </c:pt>
                <c:pt idx="958">
                  <c:v>Aug-12 </c:v>
                </c:pt>
                <c:pt idx="959">
                  <c:v>Aug-12 </c:v>
                </c:pt>
                <c:pt idx="960">
                  <c:v>Aug-12 </c:v>
                </c:pt>
                <c:pt idx="961">
                  <c:v>Aug-12 </c:v>
                </c:pt>
                <c:pt idx="962">
                  <c:v>Aug-12 </c:v>
                </c:pt>
                <c:pt idx="963">
                  <c:v>Aug-12 </c:v>
                </c:pt>
                <c:pt idx="964">
                  <c:v>Aug-12 </c:v>
                </c:pt>
                <c:pt idx="965">
                  <c:v>Aug-12 </c:v>
                </c:pt>
                <c:pt idx="966">
                  <c:v>Aug-12 </c:v>
                </c:pt>
                <c:pt idx="967">
                  <c:v>Aug-12 </c:v>
                </c:pt>
                <c:pt idx="968">
                  <c:v>Aug-12 </c:v>
                </c:pt>
                <c:pt idx="969">
                  <c:v>Aug-12 </c:v>
                </c:pt>
                <c:pt idx="970">
                  <c:v>Aug-12 </c:v>
                </c:pt>
                <c:pt idx="971">
                  <c:v>Aug-12 </c:v>
                </c:pt>
                <c:pt idx="972">
                  <c:v>Aug-12 </c:v>
                </c:pt>
                <c:pt idx="973">
                  <c:v>Aug-12 </c:v>
                </c:pt>
                <c:pt idx="974">
                  <c:v>Aug-12 </c:v>
                </c:pt>
                <c:pt idx="975">
                  <c:v>Aug-12 </c:v>
                </c:pt>
                <c:pt idx="976">
                  <c:v>Sep-12</c:v>
                </c:pt>
                <c:pt idx="977">
                  <c:v>Sep-12</c:v>
                </c:pt>
                <c:pt idx="978">
                  <c:v>Sep-12</c:v>
                </c:pt>
                <c:pt idx="979">
                  <c:v>Sep-12</c:v>
                </c:pt>
                <c:pt idx="980">
                  <c:v>Sep-12</c:v>
                </c:pt>
                <c:pt idx="981">
                  <c:v>Sep-12</c:v>
                </c:pt>
                <c:pt idx="982">
                  <c:v>Sep-12</c:v>
                </c:pt>
                <c:pt idx="983">
                  <c:v>Sep-12</c:v>
                </c:pt>
                <c:pt idx="984">
                  <c:v>Sep-12</c:v>
                </c:pt>
                <c:pt idx="985">
                  <c:v>Sep-12</c:v>
                </c:pt>
                <c:pt idx="986">
                  <c:v>Sep-12</c:v>
                </c:pt>
                <c:pt idx="987">
                  <c:v>Sep-12</c:v>
                </c:pt>
                <c:pt idx="988">
                  <c:v>Sep-12</c:v>
                </c:pt>
                <c:pt idx="989">
                  <c:v>Sep-12</c:v>
                </c:pt>
                <c:pt idx="990">
                  <c:v>Sep-12</c:v>
                </c:pt>
                <c:pt idx="991">
                  <c:v>Sep-12</c:v>
                </c:pt>
                <c:pt idx="992">
                  <c:v>Sep-12</c:v>
                </c:pt>
                <c:pt idx="993">
                  <c:v>Sep-12</c:v>
                </c:pt>
                <c:pt idx="994">
                  <c:v>Sep-12</c:v>
                </c:pt>
                <c:pt idx="995">
                  <c:v>Sep-12</c:v>
                </c:pt>
                <c:pt idx="996">
                  <c:v>Oct-12</c:v>
                </c:pt>
                <c:pt idx="997">
                  <c:v>Oct-12</c:v>
                </c:pt>
                <c:pt idx="998">
                  <c:v>Oct-12</c:v>
                </c:pt>
                <c:pt idx="999">
                  <c:v>Oct-12</c:v>
                </c:pt>
                <c:pt idx="1000">
                  <c:v>Oct-12</c:v>
                </c:pt>
                <c:pt idx="1001">
                  <c:v>Oct-12</c:v>
                </c:pt>
                <c:pt idx="1002">
                  <c:v>Oct-12</c:v>
                </c:pt>
                <c:pt idx="1003">
                  <c:v>Oct-12</c:v>
                </c:pt>
                <c:pt idx="1004">
                  <c:v>Oct-12</c:v>
                </c:pt>
                <c:pt idx="1005">
                  <c:v>Oct-12</c:v>
                </c:pt>
                <c:pt idx="1006">
                  <c:v>Oct-12</c:v>
                </c:pt>
                <c:pt idx="1007">
                  <c:v>Oct-12</c:v>
                </c:pt>
                <c:pt idx="1008">
                  <c:v>Oct-12</c:v>
                </c:pt>
                <c:pt idx="1009">
                  <c:v>Oct-12</c:v>
                </c:pt>
                <c:pt idx="1010">
                  <c:v>Oct-12</c:v>
                </c:pt>
                <c:pt idx="1011">
                  <c:v>Oct-12</c:v>
                </c:pt>
                <c:pt idx="1012">
                  <c:v>Oct-12</c:v>
                </c:pt>
                <c:pt idx="1013">
                  <c:v>Oct-12</c:v>
                </c:pt>
                <c:pt idx="1014">
                  <c:v>Oct-12</c:v>
                </c:pt>
                <c:pt idx="1015">
                  <c:v>Oct-12</c:v>
                </c:pt>
                <c:pt idx="1016">
                  <c:v>Oct-12</c:v>
                </c:pt>
                <c:pt idx="1017">
                  <c:v>Oct-12</c:v>
                </c:pt>
                <c:pt idx="1018">
                  <c:v>Oct-12</c:v>
                </c:pt>
                <c:pt idx="1019">
                  <c:v>Nov-12 </c:v>
                </c:pt>
                <c:pt idx="1020">
                  <c:v>Nov-12 </c:v>
                </c:pt>
                <c:pt idx="1021">
                  <c:v>Nov-12 </c:v>
                </c:pt>
                <c:pt idx="1022">
                  <c:v>Nov-12 </c:v>
                </c:pt>
                <c:pt idx="1023">
                  <c:v>Nov-12 </c:v>
                </c:pt>
                <c:pt idx="1024">
                  <c:v>Nov-12 </c:v>
                </c:pt>
                <c:pt idx="1025">
                  <c:v>Nov-12 </c:v>
                </c:pt>
                <c:pt idx="1026">
                  <c:v>Nov-12 </c:v>
                </c:pt>
                <c:pt idx="1027">
                  <c:v>Nov-12 </c:v>
                </c:pt>
                <c:pt idx="1028">
                  <c:v>Nov-12 </c:v>
                </c:pt>
                <c:pt idx="1029">
                  <c:v>Nov-12 </c:v>
                </c:pt>
                <c:pt idx="1030">
                  <c:v>Nov-12 </c:v>
                </c:pt>
                <c:pt idx="1031">
                  <c:v>Nov-12 </c:v>
                </c:pt>
                <c:pt idx="1032">
                  <c:v>Nov-12 </c:v>
                </c:pt>
                <c:pt idx="1033">
                  <c:v>Nov-12 </c:v>
                </c:pt>
                <c:pt idx="1034">
                  <c:v>Nov-12 </c:v>
                </c:pt>
                <c:pt idx="1035">
                  <c:v>Nov-12 </c:v>
                </c:pt>
                <c:pt idx="1036">
                  <c:v>Nov-12 </c:v>
                </c:pt>
                <c:pt idx="1037">
                  <c:v>Nov-12 </c:v>
                </c:pt>
                <c:pt idx="1038">
                  <c:v>Nov-12 </c:v>
                </c:pt>
                <c:pt idx="1039">
                  <c:v>Nov-12 </c:v>
                </c:pt>
                <c:pt idx="1040">
                  <c:v>Nov-12 </c:v>
                </c:pt>
                <c:pt idx="1041">
                  <c:v>Dec-12</c:v>
                </c:pt>
                <c:pt idx="1042">
                  <c:v>Dec-12</c:v>
                </c:pt>
                <c:pt idx="1043">
                  <c:v>Dec-12</c:v>
                </c:pt>
                <c:pt idx="1044">
                  <c:v>Dec-12</c:v>
                </c:pt>
                <c:pt idx="1045">
                  <c:v>Dec-12</c:v>
                </c:pt>
                <c:pt idx="1046">
                  <c:v>Dec-12</c:v>
                </c:pt>
                <c:pt idx="1047">
                  <c:v>Dec-12</c:v>
                </c:pt>
                <c:pt idx="1048">
                  <c:v>Dec-12</c:v>
                </c:pt>
                <c:pt idx="1049">
                  <c:v>Dec-12</c:v>
                </c:pt>
                <c:pt idx="1050">
                  <c:v>Dec-12</c:v>
                </c:pt>
                <c:pt idx="1051">
                  <c:v>Dec-12</c:v>
                </c:pt>
                <c:pt idx="1052">
                  <c:v>Dec-12</c:v>
                </c:pt>
                <c:pt idx="1053">
                  <c:v>Dec-12</c:v>
                </c:pt>
                <c:pt idx="1054">
                  <c:v>Dec-12</c:v>
                </c:pt>
                <c:pt idx="1055">
                  <c:v>Dec-12</c:v>
                </c:pt>
                <c:pt idx="1056">
                  <c:v>Dec-12</c:v>
                </c:pt>
                <c:pt idx="1057">
                  <c:v>Dec-12</c:v>
                </c:pt>
                <c:pt idx="1058">
                  <c:v>Dec-12</c:v>
                </c:pt>
                <c:pt idx="1059">
                  <c:v>Dec-12</c:v>
                </c:pt>
                <c:pt idx="1060">
                  <c:v>Jan-13 </c:v>
                </c:pt>
                <c:pt idx="1061">
                  <c:v>Jan-13 </c:v>
                </c:pt>
                <c:pt idx="1062">
                  <c:v>Jan-13 </c:v>
                </c:pt>
                <c:pt idx="1063">
                  <c:v>Jan-13 </c:v>
                </c:pt>
                <c:pt idx="1064">
                  <c:v>Jan-13 </c:v>
                </c:pt>
                <c:pt idx="1065">
                  <c:v>Jan-13 </c:v>
                </c:pt>
                <c:pt idx="1066">
                  <c:v>Jan-13 </c:v>
                </c:pt>
                <c:pt idx="1067">
                  <c:v>Jan-13 </c:v>
                </c:pt>
                <c:pt idx="1068">
                  <c:v>Jan-13 </c:v>
                </c:pt>
                <c:pt idx="1069">
                  <c:v>Jan-13 </c:v>
                </c:pt>
                <c:pt idx="1070">
                  <c:v>Jan-13 </c:v>
                </c:pt>
                <c:pt idx="1071">
                  <c:v>Jan-13 </c:v>
                </c:pt>
                <c:pt idx="1072">
                  <c:v>Jan-13 </c:v>
                </c:pt>
                <c:pt idx="1073">
                  <c:v>Jan-13 </c:v>
                </c:pt>
                <c:pt idx="1074">
                  <c:v>Jan-13 </c:v>
                </c:pt>
                <c:pt idx="1075">
                  <c:v>Jan-13 </c:v>
                </c:pt>
                <c:pt idx="1076">
                  <c:v>Jan-13 </c:v>
                </c:pt>
                <c:pt idx="1077">
                  <c:v>Jan-13 </c:v>
                </c:pt>
                <c:pt idx="1078">
                  <c:v>Jan-13 </c:v>
                </c:pt>
                <c:pt idx="1079">
                  <c:v>Jan-13 </c:v>
                </c:pt>
                <c:pt idx="1080">
                  <c:v>Jan-13 </c:v>
                </c:pt>
                <c:pt idx="1081">
                  <c:v>Jan-13 </c:v>
                </c:pt>
                <c:pt idx="1082">
                  <c:v>Feb-13 </c:v>
                </c:pt>
                <c:pt idx="1083">
                  <c:v>Feb-13 </c:v>
                </c:pt>
                <c:pt idx="1084">
                  <c:v>Feb-13 </c:v>
                </c:pt>
                <c:pt idx="1085">
                  <c:v>Feb-13 </c:v>
                </c:pt>
                <c:pt idx="1086">
                  <c:v>Feb-13 </c:v>
                </c:pt>
                <c:pt idx="1087">
                  <c:v>Feb-13 </c:v>
                </c:pt>
                <c:pt idx="1088">
                  <c:v>Feb-13 </c:v>
                </c:pt>
                <c:pt idx="1089">
                  <c:v>Feb-13 </c:v>
                </c:pt>
                <c:pt idx="1090">
                  <c:v>Feb-13 </c:v>
                </c:pt>
                <c:pt idx="1091">
                  <c:v>Feb-13 </c:v>
                </c:pt>
                <c:pt idx="1092">
                  <c:v>Feb-13 </c:v>
                </c:pt>
                <c:pt idx="1093">
                  <c:v>Feb-13 </c:v>
                </c:pt>
                <c:pt idx="1094">
                  <c:v>Feb-13 </c:v>
                </c:pt>
                <c:pt idx="1095">
                  <c:v>Feb-13 </c:v>
                </c:pt>
                <c:pt idx="1096">
                  <c:v>Feb-13 </c:v>
                </c:pt>
                <c:pt idx="1097">
                  <c:v>Feb-13 </c:v>
                </c:pt>
                <c:pt idx="1098">
                  <c:v>Feb-13 </c:v>
                </c:pt>
                <c:pt idx="1099">
                  <c:v>Feb-13 </c:v>
                </c:pt>
                <c:pt idx="1100">
                  <c:v>Feb-13 </c:v>
                </c:pt>
                <c:pt idx="1101">
                  <c:v>Feb-13 </c:v>
                </c:pt>
                <c:pt idx="1102">
                  <c:v>Mar-13 </c:v>
                </c:pt>
                <c:pt idx="1103">
                  <c:v>Mar-13 </c:v>
                </c:pt>
                <c:pt idx="1104">
                  <c:v>Mar-13 </c:v>
                </c:pt>
                <c:pt idx="1105">
                  <c:v>Mar-13 </c:v>
                </c:pt>
                <c:pt idx="1106">
                  <c:v>Mar-13 </c:v>
                </c:pt>
                <c:pt idx="1107">
                  <c:v>Mar-13 </c:v>
                </c:pt>
                <c:pt idx="1108">
                  <c:v>Mar-13 </c:v>
                </c:pt>
                <c:pt idx="1109">
                  <c:v>Mar-13 </c:v>
                </c:pt>
                <c:pt idx="1110">
                  <c:v>Mar-13 </c:v>
                </c:pt>
                <c:pt idx="1111">
                  <c:v>Mar-13 </c:v>
                </c:pt>
                <c:pt idx="1112">
                  <c:v>Mar-13 </c:v>
                </c:pt>
                <c:pt idx="1113">
                  <c:v>Mar-13 </c:v>
                </c:pt>
                <c:pt idx="1114">
                  <c:v>Mar-13 </c:v>
                </c:pt>
                <c:pt idx="1115">
                  <c:v>Mar-13 </c:v>
                </c:pt>
                <c:pt idx="1116">
                  <c:v>Mar-13 </c:v>
                </c:pt>
                <c:pt idx="1117">
                  <c:v>Mar-13 </c:v>
                </c:pt>
                <c:pt idx="1118">
                  <c:v>Mar-13 </c:v>
                </c:pt>
                <c:pt idx="1119">
                  <c:v>Mar-13 </c:v>
                </c:pt>
                <c:pt idx="1120">
                  <c:v>Mar-13 </c:v>
                </c:pt>
                <c:pt idx="1121">
                  <c:v>Mar-13 </c:v>
                </c:pt>
                <c:pt idx="1122">
                  <c:v>Apr-13</c:v>
                </c:pt>
                <c:pt idx="1123">
                  <c:v>Apr-13</c:v>
                </c:pt>
                <c:pt idx="1124">
                  <c:v>Apr-13</c:v>
                </c:pt>
                <c:pt idx="1125">
                  <c:v>Apr-13</c:v>
                </c:pt>
                <c:pt idx="1126">
                  <c:v>Apr-13</c:v>
                </c:pt>
                <c:pt idx="1127">
                  <c:v>Apr-13</c:v>
                </c:pt>
                <c:pt idx="1128">
                  <c:v>Apr-13</c:v>
                </c:pt>
                <c:pt idx="1129">
                  <c:v>Apr-13</c:v>
                </c:pt>
                <c:pt idx="1130">
                  <c:v>Apr-13</c:v>
                </c:pt>
                <c:pt idx="1131">
                  <c:v>Apr-13</c:v>
                </c:pt>
                <c:pt idx="1132">
                  <c:v>Apr-13</c:v>
                </c:pt>
                <c:pt idx="1133">
                  <c:v>Apr-13</c:v>
                </c:pt>
                <c:pt idx="1134">
                  <c:v>Apr-13</c:v>
                </c:pt>
                <c:pt idx="1135">
                  <c:v>Apr-13</c:v>
                </c:pt>
                <c:pt idx="1136">
                  <c:v>Apr-13</c:v>
                </c:pt>
                <c:pt idx="1137">
                  <c:v>Apr-13</c:v>
                </c:pt>
                <c:pt idx="1138">
                  <c:v>Apr-13</c:v>
                </c:pt>
                <c:pt idx="1139">
                  <c:v>Apr-13</c:v>
                </c:pt>
                <c:pt idx="1140">
                  <c:v>Apr-13</c:v>
                </c:pt>
                <c:pt idx="1141">
                  <c:v>Apr-13</c:v>
                </c:pt>
                <c:pt idx="1142">
                  <c:v>Apr-13</c:v>
                </c:pt>
                <c:pt idx="1143">
                  <c:v>May-13 </c:v>
                </c:pt>
                <c:pt idx="1144">
                  <c:v>May-13 </c:v>
                </c:pt>
                <c:pt idx="1145">
                  <c:v>May-13 </c:v>
                </c:pt>
                <c:pt idx="1146">
                  <c:v>May-13 </c:v>
                </c:pt>
                <c:pt idx="1147">
                  <c:v>May-13 </c:v>
                </c:pt>
                <c:pt idx="1148">
                  <c:v>May-13 </c:v>
                </c:pt>
                <c:pt idx="1149">
                  <c:v>May-13 </c:v>
                </c:pt>
                <c:pt idx="1150">
                  <c:v>May-13 </c:v>
                </c:pt>
                <c:pt idx="1151">
                  <c:v>May-13 </c:v>
                </c:pt>
                <c:pt idx="1152">
                  <c:v>May-13 </c:v>
                </c:pt>
                <c:pt idx="1153">
                  <c:v>May-13 </c:v>
                </c:pt>
                <c:pt idx="1154">
                  <c:v>May-13 </c:v>
                </c:pt>
                <c:pt idx="1155">
                  <c:v>May-13 </c:v>
                </c:pt>
                <c:pt idx="1156">
                  <c:v>May-13 </c:v>
                </c:pt>
                <c:pt idx="1157">
                  <c:v>May-13 </c:v>
                </c:pt>
                <c:pt idx="1158">
                  <c:v>May-13 </c:v>
                </c:pt>
                <c:pt idx="1159">
                  <c:v>May-13 </c:v>
                </c:pt>
                <c:pt idx="1160">
                  <c:v>May-13 </c:v>
                </c:pt>
                <c:pt idx="1161">
                  <c:v>May-13 </c:v>
                </c:pt>
                <c:pt idx="1162">
                  <c:v>May-13 </c:v>
                </c:pt>
                <c:pt idx="1163">
                  <c:v>May-13 </c:v>
                </c:pt>
                <c:pt idx="1164">
                  <c:v>May-13 </c:v>
                </c:pt>
                <c:pt idx="1165">
                  <c:v>May-13 </c:v>
                </c:pt>
                <c:pt idx="1166">
                  <c:v>Jun-13 </c:v>
                </c:pt>
                <c:pt idx="1167">
                  <c:v>Jun-13 </c:v>
                </c:pt>
                <c:pt idx="1168">
                  <c:v>Jun-13 </c:v>
                </c:pt>
                <c:pt idx="1169">
                  <c:v>Jun-13 </c:v>
                </c:pt>
                <c:pt idx="1170">
                  <c:v>Jun-13 </c:v>
                </c:pt>
                <c:pt idx="1171">
                  <c:v>Jun-13 </c:v>
                </c:pt>
                <c:pt idx="1172">
                  <c:v>Jun-13 </c:v>
                </c:pt>
                <c:pt idx="1173">
                  <c:v>Jun-13 </c:v>
                </c:pt>
                <c:pt idx="1174">
                  <c:v>Jun-13 </c:v>
                </c:pt>
                <c:pt idx="1175">
                  <c:v>Jun-13 </c:v>
                </c:pt>
                <c:pt idx="1176">
                  <c:v>Jun-13 </c:v>
                </c:pt>
                <c:pt idx="1177">
                  <c:v>Jun-13 </c:v>
                </c:pt>
                <c:pt idx="1178">
                  <c:v>Jun-13 </c:v>
                </c:pt>
                <c:pt idx="1179">
                  <c:v>Jun-13 </c:v>
                </c:pt>
                <c:pt idx="1180">
                  <c:v>Jun-13 </c:v>
                </c:pt>
                <c:pt idx="1181">
                  <c:v>Jun-13 </c:v>
                </c:pt>
                <c:pt idx="1182">
                  <c:v>Jun-13 </c:v>
                </c:pt>
                <c:pt idx="1183">
                  <c:v>Jun-13 </c:v>
                </c:pt>
                <c:pt idx="1184">
                  <c:v>Jun-13 </c:v>
                </c:pt>
                <c:pt idx="1185">
                  <c:v>Jun-13 </c:v>
                </c:pt>
                <c:pt idx="1186">
                  <c:v>Jul-13</c:v>
                </c:pt>
                <c:pt idx="1187">
                  <c:v>Jul-13</c:v>
                </c:pt>
                <c:pt idx="1188">
                  <c:v>Jul-13</c:v>
                </c:pt>
                <c:pt idx="1189">
                  <c:v>Jul-13</c:v>
                </c:pt>
                <c:pt idx="1190">
                  <c:v>Jul-13</c:v>
                </c:pt>
                <c:pt idx="1191">
                  <c:v>Jul-13</c:v>
                </c:pt>
                <c:pt idx="1192">
                  <c:v>Jul-13</c:v>
                </c:pt>
                <c:pt idx="1193">
                  <c:v>Jul-13</c:v>
                </c:pt>
                <c:pt idx="1194">
                  <c:v>Jul-13</c:v>
                </c:pt>
                <c:pt idx="1195">
                  <c:v>Jul-13</c:v>
                </c:pt>
                <c:pt idx="1196">
                  <c:v>Jul-13</c:v>
                </c:pt>
                <c:pt idx="1197">
                  <c:v>Jul-13</c:v>
                </c:pt>
                <c:pt idx="1198">
                  <c:v>Jul-13</c:v>
                </c:pt>
                <c:pt idx="1199">
                  <c:v>Jul-13</c:v>
                </c:pt>
                <c:pt idx="1200">
                  <c:v>Jul-13</c:v>
                </c:pt>
                <c:pt idx="1201">
                  <c:v>Jul-13</c:v>
                </c:pt>
                <c:pt idx="1202">
                  <c:v>Jul-13</c:v>
                </c:pt>
                <c:pt idx="1203">
                  <c:v>Jul-13</c:v>
                </c:pt>
                <c:pt idx="1204">
                  <c:v>Jul-13</c:v>
                </c:pt>
                <c:pt idx="1205">
                  <c:v>Jul-13</c:v>
                </c:pt>
                <c:pt idx="1206">
                  <c:v>Jul-13</c:v>
                </c:pt>
                <c:pt idx="1207">
                  <c:v>Jul-13</c:v>
                </c:pt>
                <c:pt idx="1208">
                  <c:v>Jul-13</c:v>
                </c:pt>
                <c:pt idx="1209">
                  <c:v>Aug-13 </c:v>
                </c:pt>
                <c:pt idx="1210">
                  <c:v>Aug-13 </c:v>
                </c:pt>
                <c:pt idx="1211">
                  <c:v>Aug-13 </c:v>
                </c:pt>
                <c:pt idx="1212">
                  <c:v>Aug-13 </c:v>
                </c:pt>
                <c:pt idx="1213">
                  <c:v>Aug-13 </c:v>
                </c:pt>
                <c:pt idx="1214">
                  <c:v>Aug-13 </c:v>
                </c:pt>
                <c:pt idx="1215">
                  <c:v>Aug-13 </c:v>
                </c:pt>
                <c:pt idx="1216">
                  <c:v>Aug-13 </c:v>
                </c:pt>
                <c:pt idx="1217">
                  <c:v>Aug-13 </c:v>
                </c:pt>
                <c:pt idx="1218">
                  <c:v>Aug-13 </c:v>
                </c:pt>
                <c:pt idx="1219">
                  <c:v>Aug-13 </c:v>
                </c:pt>
                <c:pt idx="1220">
                  <c:v>Aug-13 </c:v>
                </c:pt>
                <c:pt idx="1221">
                  <c:v>Aug-13 </c:v>
                </c:pt>
                <c:pt idx="1222">
                  <c:v>Aug-13 </c:v>
                </c:pt>
                <c:pt idx="1223">
                  <c:v>Aug-13 </c:v>
                </c:pt>
                <c:pt idx="1224">
                  <c:v>Aug-13 </c:v>
                </c:pt>
                <c:pt idx="1225">
                  <c:v>Aug-13 </c:v>
                </c:pt>
                <c:pt idx="1226">
                  <c:v>Aug-13 </c:v>
                </c:pt>
                <c:pt idx="1227">
                  <c:v>Aug-13 </c:v>
                </c:pt>
                <c:pt idx="1228">
                  <c:v>Aug-13 </c:v>
                </c:pt>
                <c:pt idx="1229">
                  <c:v>Aug-13 </c:v>
                </c:pt>
                <c:pt idx="1230">
                  <c:v>Aug-13 </c:v>
                </c:pt>
                <c:pt idx="1231">
                  <c:v>Sep-13</c:v>
                </c:pt>
                <c:pt idx="1232">
                  <c:v>Sep-13</c:v>
                </c:pt>
                <c:pt idx="1233">
                  <c:v>Sep-13</c:v>
                </c:pt>
                <c:pt idx="1234">
                  <c:v>Sep-13</c:v>
                </c:pt>
                <c:pt idx="1235">
                  <c:v>Sep-13</c:v>
                </c:pt>
                <c:pt idx="1236">
                  <c:v>Sep-13</c:v>
                </c:pt>
                <c:pt idx="1237">
                  <c:v>Sep-13</c:v>
                </c:pt>
                <c:pt idx="1238">
                  <c:v>Sep-13</c:v>
                </c:pt>
                <c:pt idx="1239">
                  <c:v>Sep-13</c:v>
                </c:pt>
                <c:pt idx="1240">
                  <c:v>Sep-13</c:v>
                </c:pt>
                <c:pt idx="1241">
                  <c:v>Sep-13</c:v>
                </c:pt>
                <c:pt idx="1242">
                  <c:v>Sep-13</c:v>
                </c:pt>
                <c:pt idx="1243">
                  <c:v>Sep-13</c:v>
                </c:pt>
                <c:pt idx="1244">
                  <c:v>Sep-13</c:v>
                </c:pt>
                <c:pt idx="1245">
                  <c:v>Sep-13</c:v>
                </c:pt>
              </c:strCache>
            </c:strRef>
          </c:cat>
          <c:val>
            <c:numRef>
              <c:f>Sheet0!$D$2:$D$1307</c:f>
              <c:numCache>
                <c:formatCode>General</c:formatCode>
                <c:ptCount val="1306"/>
                <c:pt idx="0">
                  <c:v>99.52</c:v>
                </c:pt>
                <c:pt idx="1">
                  <c:v>101.45</c:v>
                </c:pt>
                <c:pt idx="2">
                  <c:v>102.1</c:v>
                </c:pt>
                <c:pt idx="3">
                  <c:v>102.93</c:v>
                </c:pt>
                <c:pt idx="4">
                  <c:v>103.27</c:v>
                </c:pt>
                <c:pt idx="5">
                  <c:v>103.39</c:v>
                </c:pt>
                <c:pt idx="6">
                  <c:v>103.67</c:v>
                </c:pt>
                <c:pt idx="7">
                  <c:v>104.48</c:v>
                </c:pt>
                <c:pt idx="8">
                  <c:v>104.8</c:v>
                </c:pt>
                <c:pt idx="9">
                  <c:v>105.07</c:v>
                </c:pt>
                <c:pt idx="10">
                  <c:v>104.55</c:v>
                </c:pt>
                <c:pt idx="11">
                  <c:v>104.21</c:v>
                </c:pt>
                <c:pt idx="12">
                  <c:v>103.46</c:v>
                </c:pt>
                <c:pt idx="13">
                  <c:v>103.82</c:v>
                </c:pt>
                <c:pt idx="14">
                  <c:v>104.88</c:v>
                </c:pt>
                <c:pt idx="15">
                  <c:v>104.34</c:v>
                </c:pt>
                <c:pt idx="16">
                  <c:v>102.28</c:v>
                </c:pt>
                <c:pt idx="17">
                  <c:v>102.26</c:v>
                </c:pt>
                <c:pt idx="18">
                  <c:v>102.83</c:v>
                </c:pt>
                <c:pt idx="19">
                  <c:v>102.76</c:v>
                </c:pt>
                <c:pt idx="20">
                  <c:v>102.54</c:v>
                </c:pt>
                <c:pt idx="21">
                  <c:v>102.13</c:v>
                </c:pt>
                <c:pt idx="22">
                  <c:v>101.31</c:v>
                </c:pt>
                <c:pt idx="23">
                  <c:v>101.06</c:v>
                </c:pt>
                <c:pt idx="24">
                  <c:v>100.8</c:v>
                </c:pt>
                <c:pt idx="25">
                  <c:v>101.62</c:v>
                </c:pt>
                <c:pt idx="26">
                  <c:v>101.84</c:v>
                </c:pt>
                <c:pt idx="27">
                  <c:v>101.57</c:v>
                </c:pt>
                <c:pt idx="28">
                  <c:v>101.89</c:v>
                </c:pt>
                <c:pt idx="29">
                  <c:v>102.24</c:v>
                </c:pt>
                <c:pt idx="30">
                  <c:v>102.42</c:v>
                </c:pt>
                <c:pt idx="31">
                  <c:v>102.72</c:v>
                </c:pt>
                <c:pt idx="32">
                  <c:v>102.19</c:v>
                </c:pt>
                <c:pt idx="33">
                  <c:v>102.47</c:v>
                </c:pt>
                <c:pt idx="34">
                  <c:v>103.15</c:v>
                </c:pt>
                <c:pt idx="35">
                  <c:v>102.91</c:v>
                </c:pt>
                <c:pt idx="36">
                  <c:v>102.65</c:v>
                </c:pt>
                <c:pt idx="37">
                  <c:v>102.69</c:v>
                </c:pt>
                <c:pt idx="38">
                  <c:v>103.08</c:v>
                </c:pt>
                <c:pt idx="39">
                  <c:v>103.26</c:v>
                </c:pt>
                <c:pt idx="40">
                  <c:v>103.55</c:v>
                </c:pt>
                <c:pt idx="41">
                  <c:v>103.38</c:v>
                </c:pt>
                <c:pt idx="42">
                  <c:v>103.09</c:v>
                </c:pt>
                <c:pt idx="43">
                  <c:v>103.19</c:v>
                </c:pt>
                <c:pt idx="44">
                  <c:v>103.37</c:v>
                </c:pt>
                <c:pt idx="45">
                  <c:v>103.25</c:v>
                </c:pt>
                <c:pt idx="46">
                  <c:v>103.34</c:v>
                </c:pt>
                <c:pt idx="47">
                  <c:v>104.25</c:v>
                </c:pt>
                <c:pt idx="48">
                  <c:v>105.8</c:v>
                </c:pt>
                <c:pt idx="49">
                  <c:v>106.57</c:v>
                </c:pt>
                <c:pt idx="50">
                  <c:v>106.31</c:v>
                </c:pt>
                <c:pt idx="51">
                  <c:v>107.19</c:v>
                </c:pt>
                <c:pt idx="52">
                  <c:v>107.26</c:v>
                </c:pt>
                <c:pt idx="53">
                  <c:v>106.01</c:v>
                </c:pt>
                <c:pt idx="54">
                  <c:v>106.75</c:v>
                </c:pt>
                <c:pt idx="55">
                  <c:v>105.11</c:v>
                </c:pt>
                <c:pt idx="56">
                  <c:v>105.4</c:v>
                </c:pt>
                <c:pt idx="57">
                  <c:v>106.63</c:v>
                </c:pt>
                <c:pt idx="58">
                  <c:v>106.28</c:v>
                </c:pt>
                <c:pt idx="59">
                  <c:v>106.39</c:v>
                </c:pt>
                <c:pt idx="60">
                  <c:v>105.97</c:v>
                </c:pt>
                <c:pt idx="61">
                  <c:v>107.22</c:v>
                </c:pt>
                <c:pt idx="62">
                  <c:v>107.56</c:v>
                </c:pt>
                <c:pt idx="63">
                  <c:v>107.67</c:v>
                </c:pt>
                <c:pt idx="64">
                  <c:v>107.9</c:v>
                </c:pt>
                <c:pt idx="65">
                  <c:v>107.79</c:v>
                </c:pt>
                <c:pt idx="66">
                  <c:v>109.48</c:v>
                </c:pt>
                <c:pt idx="67">
                  <c:v>110.48</c:v>
                </c:pt>
                <c:pt idx="68">
                  <c:v>109.61</c:v>
                </c:pt>
                <c:pt idx="69">
                  <c:v>110.19</c:v>
                </c:pt>
                <c:pt idx="70">
                  <c:v>110.13</c:v>
                </c:pt>
                <c:pt idx="71">
                  <c:v>110.94</c:v>
                </c:pt>
                <c:pt idx="72">
                  <c:v>111.67</c:v>
                </c:pt>
                <c:pt idx="73">
                  <c:v>111.75</c:v>
                </c:pt>
                <c:pt idx="74">
                  <c:v>111.16</c:v>
                </c:pt>
                <c:pt idx="75">
                  <c:v>111.42</c:v>
                </c:pt>
                <c:pt idx="76">
                  <c:v>111.19</c:v>
                </c:pt>
                <c:pt idx="77">
                  <c:v>112.3</c:v>
                </c:pt>
                <c:pt idx="78">
                  <c:v>112.49</c:v>
                </c:pt>
                <c:pt idx="79">
                  <c:v>113.09</c:v>
                </c:pt>
                <c:pt idx="80">
                  <c:v>113.85</c:v>
                </c:pt>
                <c:pt idx="81">
                  <c:v>114.4</c:v>
                </c:pt>
                <c:pt idx="82">
                  <c:v>114.65</c:v>
                </c:pt>
                <c:pt idx="83">
                  <c:v>114.27</c:v>
                </c:pt>
                <c:pt idx="84">
                  <c:v>113.88</c:v>
                </c:pt>
                <c:pt idx="85">
                  <c:v>114.28</c:v>
                </c:pt>
                <c:pt idx="86">
                  <c:v>114.58</c:v>
                </c:pt>
                <c:pt idx="87">
                  <c:v>113.12</c:v>
                </c:pt>
                <c:pt idx="88">
                  <c:v>112.33</c:v>
                </c:pt>
                <c:pt idx="89">
                  <c:v>113.44</c:v>
                </c:pt>
                <c:pt idx="90">
                  <c:v>113.97</c:v>
                </c:pt>
                <c:pt idx="91">
                  <c:v>115.07</c:v>
                </c:pt>
                <c:pt idx="92">
                  <c:v>115.93</c:v>
                </c:pt>
                <c:pt idx="93">
                  <c:v>116.19</c:v>
                </c:pt>
                <c:pt idx="94">
                  <c:v>116.04</c:v>
                </c:pt>
                <c:pt idx="95">
                  <c:v>116.69</c:v>
                </c:pt>
                <c:pt idx="96">
                  <c:v>117.03</c:v>
                </c:pt>
                <c:pt idx="97">
                  <c:v>115.29</c:v>
                </c:pt>
                <c:pt idx="98">
                  <c:v>115.36</c:v>
                </c:pt>
                <c:pt idx="99">
                  <c:v>115.85</c:v>
                </c:pt>
                <c:pt idx="100">
                  <c:v>115.74</c:v>
                </c:pt>
                <c:pt idx="101">
                  <c:v>114.28</c:v>
                </c:pt>
                <c:pt idx="102">
                  <c:v>113.71</c:v>
                </c:pt>
                <c:pt idx="103">
                  <c:v>112.91</c:v>
                </c:pt>
                <c:pt idx="104">
                  <c:v>112.96</c:v>
                </c:pt>
                <c:pt idx="105">
                  <c:v>112.9</c:v>
                </c:pt>
                <c:pt idx="106">
                  <c:v>113.38</c:v>
                </c:pt>
                <c:pt idx="107">
                  <c:v>113.29</c:v>
                </c:pt>
                <c:pt idx="108">
                  <c:v>112.56</c:v>
                </c:pt>
                <c:pt idx="109">
                  <c:v>112.36</c:v>
                </c:pt>
                <c:pt idx="110">
                  <c:v>113.53</c:v>
                </c:pt>
                <c:pt idx="111">
                  <c:v>113.65</c:v>
                </c:pt>
                <c:pt idx="112">
                  <c:v>114.9</c:v>
                </c:pt>
                <c:pt idx="113">
                  <c:v>115.72</c:v>
                </c:pt>
                <c:pt idx="114">
                  <c:v>116.45</c:v>
                </c:pt>
                <c:pt idx="115">
                  <c:v>116.06</c:v>
                </c:pt>
                <c:pt idx="116">
                  <c:v>115.36</c:v>
                </c:pt>
                <c:pt idx="117">
                  <c:v>115.82</c:v>
                </c:pt>
                <c:pt idx="118">
                  <c:v>116.53</c:v>
                </c:pt>
                <c:pt idx="119">
                  <c:v>117.71</c:v>
                </c:pt>
                <c:pt idx="120">
                  <c:v>117.19</c:v>
                </c:pt>
                <c:pt idx="121">
                  <c:v>117.81</c:v>
                </c:pt>
                <c:pt idx="122">
                  <c:v>117.96</c:v>
                </c:pt>
                <c:pt idx="123">
                  <c:v>117.71</c:v>
                </c:pt>
                <c:pt idx="124">
                  <c:v>117.03</c:v>
                </c:pt>
                <c:pt idx="125">
                  <c:v>115.12</c:v>
                </c:pt>
                <c:pt idx="126">
                  <c:v>113.88</c:v>
                </c:pt>
                <c:pt idx="127">
                  <c:v>113.43</c:v>
                </c:pt>
                <c:pt idx="128">
                  <c:v>115.02</c:v>
                </c:pt>
                <c:pt idx="129">
                  <c:v>115.42</c:v>
                </c:pt>
                <c:pt idx="130">
                  <c:v>114.42</c:v>
                </c:pt>
                <c:pt idx="131">
                  <c:v>113.75</c:v>
                </c:pt>
                <c:pt idx="132">
                  <c:v>114.44</c:v>
                </c:pt>
                <c:pt idx="133">
                  <c:v>113.78</c:v>
                </c:pt>
                <c:pt idx="134">
                  <c:v>112.8</c:v>
                </c:pt>
                <c:pt idx="135">
                  <c:v>113.89</c:v>
                </c:pt>
                <c:pt idx="136">
                  <c:v>113.65</c:v>
                </c:pt>
                <c:pt idx="137">
                  <c:v>112.44</c:v>
                </c:pt>
                <c:pt idx="138">
                  <c:v>112.21</c:v>
                </c:pt>
                <c:pt idx="139">
                  <c:v>109.91</c:v>
                </c:pt>
                <c:pt idx="140">
                  <c:v>107.35</c:v>
                </c:pt>
                <c:pt idx="141">
                  <c:v>106.85</c:v>
                </c:pt>
                <c:pt idx="142">
                  <c:v>107.7</c:v>
                </c:pt>
                <c:pt idx="143">
                  <c:v>107.44</c:v>
                </c:pt>
                <c:pt idx="144">
                  <c:v>108.76</c:v>
                </c:pt>
                <c:pt idx="145">
                  <c:v>108.93</c:v>
                </c:pt>
                <c:pt idx="146">
                  <c:v>109.64</c:v>
                </c:pt>
                <c:pt idx="147">
                  <c:v>110.09</c:v>
                </c:pt>
                <c:pt idx="148">
                  <c:v>110.69</c:v>
                </c:pt>
                <c:pt idx="149">
                  <c:v>110.62</c:v>
                </c:pt>
                <c:pt idx="150">
                  <c:v>111.19</c:v>
                </c:pt>
                <c:pt idx="151">
                  <c:v>112.01</c:v>
                </c:pt>
                <c:pt idx="152">
                  <c:v>111.18</c:v>
                </c:pt>
                <c:pt idx="153">
                  <c:v>112.06</c:v>
                </c:pt>
                <c:pt idx="154">
                  <c:v>111.75</c:v>
                </c:pt>
                <c:pt idx="155">
                  <c:v>111.79</c:v>
                </c:pt>
                <c:pt idx="156">
                  <c:v>111.12</c:v>
                </c:pt>
                <c:pt idx="157">
                  <c:v>111.27</c:v>
                </c:pt>
                <c:pt idx="158">
                  <c:v>110.72</c:v>
                </c:pt>
                <c:pt idx="159">
                  <c:v>110.36</c:v>
                </c:pt>
                <c:pt idx="160">
                  <c:v>108.85</c:v>
                </c:pt>
                <c:pt idx="161">
                  <c:v>109.21</c:v>
                </c:pt>
                <c:pt idx="162">
                  <c:v>109.39</c:v>
                </c:pt>
                <c:pt idx="163">
                  <c:v>109.81</c:v>
                </c:pt>
                <c:pt idx="164">
                  <c:v>109.76</c:v>
                </c:pt>
                <c:pt idx="165">
                  <c:v>109.53</c:v>
                </c:pt>
                <c:pt idx="166">
                  <c:v>110.17</c:v>
                </c:pt>
                <c:pt idx="167">
                  <c:v>110.65</c:v>
                </c:pt>
                <c:pt idx="168">
                  <c:v>110.7</c:v>
                </c:pt>
                <c:pt idx="169">
                  <c:v>110.96</c:v>
                </c:pt>
                <c:pt idx="170">
                  <c:v>110.72</c:v>
                </c:pt>
                <c:pt idx="171">
                  <c:v>110.94</c:v>
                </c:pt>
                <c:pt idx="172">
                  <c:v>110.82</c:v>
                </c:pt>
                <c:pt idx="173">
                  <c:v>110.53</c:v>
                </c:pt>
                <c:pt idx="174">
                  <c:v>109.35</c:v>
                </c:pt>
                <c:pt idx="175">
                  <c:v>110.15</c:v>
                </c:pt>
                <c:pt idx="176">
                  <c:v>111.28</c:v>
                </c:pt>
                <c:pt idx="177">
                  <c:v>112.73</c:v>
                </c:pt>
                <c:pt idx="178">
                  <c:v>113.07</c:v>
                </c:pt>
                <c:pt idx="179">
                  <c:v>112.88</c:v>
                </c:pt>
                <c:pt idx="180">
                  <c:v>113.15</c:v>
                </c:pt>
                <c:pt idx="181">
                  <c:v>112.46</c:v>
                </c:pt>
                <c:pt idx="182">
                  <c:v>111.7</c:v>
                </c:pt>
                <c:pt idx="183">
                  <c:v>111.63</c:v>
                </c:pt>
                <c:pt idx="184">
                  <c:v>112.03</c:v>
                </c:pt>
                <c:pt idx="185">
                  <c:v>112.35</c:v>
                </c:pt>
                <c:pt idx="186">
                  <c:v>112.42</c:v>
                </c:pt>
                <c:pt idx="187">
                  <c:v>111.55</c:v>
                </c:pt>
                <c:pt idx="188">
                  <c:v>111.1</c:v>
                </c:pt>
                <c:pt idx="189">
                  <c:v>111.73</c:v>
                </c:pt>
                <c:pt idx="190">
                  <c:v>112.1</c:v>
                </c:pt>
                <c:pt idx="191">
                  <c:v>111.83</c:v>
                </c:pt>
                <c:pt idx="192">
                  <c:v>111.73</c:v>
                </c:pt>
                <c:pt idx="193">
                  <c:v>112.28</c:v>
                </c:pt>
                <c:pt idx="194">
                  <c:v>110.47</c:v>
                </c:pt>
                <c:pt idx="195">
                  <c:v>109.51</c:v>
                </c:pt>
                <c:pt idx="196">
                  <c:v>108.15</c:v>
                </c:pt>
                <c:pt idx="197">
                  <c:v>107.06</c:v>
                </c:pt>
                <c:pt idx="198">
                  <c:v>106.66</c:v>
                </c:pt>
                <c:pt idx="199">
                  <c:v>106.4</c:v>
                </c:pt>
                <c:pt idx="200">
                  <c:v>107.58</c:v>
                </c:pt>
                <c:pt idx="201">
                  <c:v>107.12</c:v>
                </c:pt>
                <c:pt idx="202">
                  <c:v>107.03</c:v>
                </c:pt>
                <c:pt idx="203">
                  <c:v>107.69</c:v>
                </c:pt>
                <c:pt idx="204">
                  <c:v>107.31</c:v>
                </c:pt>
                <c:pt idx="205">
                  <c:v>107.54</c:v>
                </c:pt>
                <c:pt idx="206">
                  <c:v>106.87</c:v>
                </c:pt>
                <c:pt idx="207">
                  <c:v>106.89</c:v>
                </c:pt>
                <c:pt idx="208">
                  <c:v>108.12</c:v>
                </c:pt>
                <c:pt idx="209">
                  <c:v>107.52</c:v>
                </c:pt>
                <c:pt idx="210">
                  <c:v>108.15</c:v>
                </c:pt>
                <c:pt idx="211">
                  <c:v>107.57</c:v>
                </c:pt>
                <c:pt idx="212">
                  <c:v>107.17</c:v>
                </c:pt>
                <c:pt idx="213">
                  <c:v>107.79</c:v>
                </c:pt>
                <c:pt idx="214">
                  <c:v>109.02</c:v>
                </c:pt>
                <c:pt idx="215">
                  <c:v>109.66</c:v>
                </c:pt>
                <c:pt idx="216">
                  <c:v>110.81</c:v>
                </c:pt>
                <c:pt idx="217">
                  <c:v>110.99</c:v>
                </c:pt>
                <c:pt idx="218">
                  <c:v>111.19</c:v>
                </c:pt>
                <c:pt idx="219">
                  <c:v>112.1</c:v>
                </c:pt>
                <c:pt idx="220">
                  <c:v>112.46</c:v>
                </c:pt>
                <c:pt idx="221">
                  <c:v>112.57</c:v>
                </c:pt>
                <c:pt idx="222">
                  <c:v>112.34</c:v>
                </c:pt>
                <c:pt idx="223">
                  <c:v>111.66</c:v>
                </c:pt>
                <c:pt idx="224">
                  <c:v>111.44</c:v>
                </c:pt>
                <c:pt idx="225">
                  <c:v>110.69</c:v>
                </c:pt>
                <c:pt idx="226">
                  <c:v>111.12</c:v>
                </c:pt>
                <c:pt idx="227">
                  <c:v>110.52</c:v>
                </c:pt>
                <c:pt idx="228">
                  <c:v>110.83</c:v>
                </c:pt>
                <c:pt idx="229">
                  <c:v>111.46</c:v>
                </c:pt>
                <c:pt idx="230">
                  <c:v>111.64</c:v>
                </c:pt>
                <c:pt idx="231">
                  <c:v>112.22</c:v>
                </c:pt>
                <c:pt idx="232">
                  <c:v>111.79</c:v>
                </c:pt>
                <c:pt idx="233">
                  <c:v>110.8</c:v>
                </c:pt>
                <c:pt idx="234">
                  <c:v>109.7</c:v>
                </c:pt>
                <c:pt idx="235">
                  <c:v>109.79</c:v>
                </c:pt>
                <c:pt idx="236">
                  <c:v>108.73</c:v>
                </c:pt>
                <c:pt idx="237">
                  <c:v>109.34</c:v>
                </c:pt>
                <c:pt idx="238">
                  <c:v>106.88</c:v>
                </c:pt>
                <c:pt idx="239">
                  <c:v>105.76</c:v>
                </c:pt>
                <c:pt idx="240">
                  <c:v>102.25</c:v>
                </c:pt>
                <c:pt idx="241">
                  <c:v>100.72</c:v>
                </c:pt>
                <c:pt idx="242">
                  <c:v>95.69</c:v>
                </c:pt>
                <c:pt idx="243">
                  <c:v>98.04</c:v>
                </c:pt>
                <c:pt idx="244">
                  <c:v>95.52</c:v>
                </c:pt>
                <c:pt idx="245">
                  <c:v>97.89</c:v>
                </c:pt>
                <c:pt idx="246">
                  <c:v>99.49</c:v>
                </c:pt>
                <c:pt idx="247">
                  <c:v>99.91</c:v>
                </c:pt>
                <c:pt idx="248">
                  <c:v>99.57</c:v>
                </c:pt>
                <c:pt idx="249">
                  <c:v>99.55</c:v>
                </c:pt>
                <c:pt idx="250">
                  <c:v>96.17</c:v>
                </c:pt>
                <c:pt idx="251">
                  <c:v>94.11</c:v>
                </c:pt>
                <c:pt idx="252">
                  <c:v>94.29</c:v>
                </c:pt>
                <c:pt idx="253">
                  <c:v>96.4</c:v>
                </c:pt>
                <c:pt idx="254">
                  <c:v>97.15</c:v>
                </c:pt>
                <c:pt idx="255">
                  <c:v>96.45</c:v>
                </c:pt>
                <c:pt idx="256">
                  <c:v>97.08</c:v>
                </c:pt>
                <c:pt idx="257">
                  <c:v>98.19</c:v>
                </c:pt>
                <c:pt idx="258">
                  <c:v>99.33</c:v>
                </c:pt>
                <c:pt idx="259">
                  <c:v>100.87</c:v>
                </c:pt>
                <c:pt idx="260">
                  <c:v>101.28</c:v>
                </c:pt>
                <c:pt idx="261">
                  <c:v>99.26</c:v>
                </c:pt>
                <c:pt idx="262">
                  <c:v>98.07</c:v>
                </c:pt>
                <c:pt idx="263">
                  <c:v>97.58</c:v>
                </c:pt>
                <c:pt idx="264">
                  <c:v>100.26</c:v>
                </c:pt>
                <c:pt idx="265">
                  <c:v>100.18</c:v>
                </c:pt>
                <c:pt idx="266">
                  <c:v>99.3</c:v>
                </c:pt>
                <c:pt idx="267">
                  <c:v>98.96</c:v>
                </c:pt>
                <c:pt idx="268">
                  <c:v>99.51</c:v>
                </c:pt>
                <c:pt idx="269">
                  <c:v>100.43</c:v>
                </c:pt>
                <c:pt idx="270">
                  <c:v>101.25</c:v>
                </c:pt>
                <c:pt idx="271">
                  <c:v>102.33</c:v>
                </c:pt>
                <c:pt idx="272">
                  <c:v>101.91</c:v>
                </c:pt>
                <c:pt idx="273">
                  <c:v>101.63</c:v>
                </c:pt>
                <c:pt idx="274">
                  <c:v>99.67</c:v>
                </c:pt>
                <c:pt idx="275">
                  <c:v>97.1</c:v>
                </c:pt>
                <c:pt idx="276">
                  <c:v>97.18</c:v>
                </c:pt>
                <c:pt idx="277">
                  <c:v>98.72</c:v>
                </c:pt>
                <c:pt idx="278">
                  <c:v>100.3</c:v>
                </c:pt>
                <c:pt idx="279">
                  <c:v>99.2</c:v>
                </c:pt>
                <c:pt idx="280">
                  <c:v>99.47</c:v>
                </c:pt>
                <c:pt idx="281">
                  <c:v>98.91</c:v>
                </c:pt>
                <c:pt idx="282">
                  <c:v>97.31</c:v>
                </c:pt>
                <c:pt idx="283">
                  <c:v>97.17</c:v>
                </c:pt>
                <c:pt idx="284">
                  <c:v>98.88</c:v>
                </c:pt>
                <c:pt idx="285">
                  <c:v>100.69</c:v>
                </c:pt>
                <c:pt idx="286">
                  <c:v>100.3</c:v>
                </c:pt>
                <c:pt idx="287">
                  <c:v>101.73</c:v>
                </c:pt>
                <c:pt idx="288">
                  <c:v>102.12</c:v>
                </c:pt>
                <c:pt idx="289">
                  <c:v>102.38</c:v>
                </c:pt>
                <c:pt idx="290">
                  <c:v>102.54</c:v>
                </c:pt>
                <c:pt idx="291">
                  <c:v>102.78</c:v>
                </c:pt>
                <c:pt idx="292">
                  <c:v>102.34</c:v>
                </c:pt>
                <c:pt idx="293">
                  <c:v>103.31</c:v>
                </c:pt>
                <c:pt idx="294">
                  <c:v>102.27</c:v>
                </c:pt>
                <c:pt idx="295">
                  <c:v>102.28</c:v>
                </c:pt>
                <c:pt idx="296">
                  <c:v>103.15</c:v>
                </c:pt>
                <c:pt idx="297">
                  <c:v>104.81</c:v>
                </c:pt>
                <c:pt idx="298">
                  <c:v>103.31</c:v>
                </c:pt>
                <c:pt idx="299">
                  <c:v>104.3</c:v>
                </c:pt>
                <c:pt idx="300">
                  <c:v>106.22</c:v>
                </c:pt>
                <c:pt idx="301">
                  <c:v>106.28</c:v>
                </c:pt>
                <c:pt idx="302">
                  <c:v>104.82</c:v>
                </c:pt>
                <c:pt idx="303">
                  <c:v>103.17</c:v>
                </c:pt>
                <c:pt idx="304">
                  <c:v>103.51</c:v>
                </c:pt>
                <c:pt idx="305">
                  <c:v>105.43</c:v>
                </c:pt>
                <c:pt idx="306">
                  <c:v>105.03</c:v>
                </c:pt>
                <c:pt idx="307">
                  <c:v>105.27</c:v>
                </c:pt>
                <c:pt idx="308">
                  <c:v>105.75</c:v>
                </c:pt>
                <c:pt idx="309">
                  <c:v>104.51</c:v>
                </c:pt>
                <c:pt idx="310">
                  <c:v>104.28</c:v>
                </c:pt>
                <c:pt idx="311">
                  <c:v>105.46</c:v>
                </c:pt>
                <c:pt idx="312">
                  <c:v>105.36</c:v>
                </c:pt>
                <c:pt idx="313">
                  <c:v>105.88</c:v>
                </c:pt>
                <c:pt idx="314">
                  <c:v>104.8</c:v>
                </c:pt>
                <c:pt idx="315">
                  <c:v>103.53</c:v>
                </c:pt>
                <c:pt idx="316">
                  <c:v>102.94</c:v>
                </c:pt>
                <c:pt idx="317">
                  <c:v>101.06</c:v>
                </c:pt>
                <c:pt idx="318">
                  <c:v>100.53</c:v>
                </c:pt>
                <c:pt idx="319">
                  <c:v>99.45</c:v>
                </c:pt>
                <c:pt idx="320">
                  <c:v>99.4</c:v>
                </c:pt>
                <c:pt idx="321">
                  <c:v>99.61</c:v>
                </c:pt>
                <c:pt idx="322">
                  <c:v>102.1</c:v>
                </c:pt>
                <c:pt idx="323">
                  <c:v>102.93</c:v>
                </c:pt>
                <c:pt idx="324">
                  <c:v>105.84</c:v>
                </c:pt>
                <c:pt idx="325">
                  <c:v>105.88</c:v>
                </c:pt>
                <c:pt idx="326">
                  <c:v>106.46</c:v>
                </c:pt>
                <c:pt idx="327">
                  <c:v>107.22</c:v>
                </c:pt>
                <c:pt idx="328">
                  <c:v>107.36</c:v>
                </c:pt>
                <c:pt idx="329">
                  <c:v>107.66</c:v>
                </c:pt>
                <c:pt idx="330">
                  <c:v>106.28</c:v>
                </c:pt>
                <c:pt idx="331">
                  <c:v>106.93</c:v>
                </c:pt>
                <c:pt idx="332">
                  <c:v>106.48</c:v>
                </c:pt>
                <c:pt idx="333">
                  <c:v>106.65</c:v>
                </c:pt>
                <c:pt idx="334">
                  <c:v>105.91</c:v>
                </c:pt>
                <c:pt idx="335">
                  <c:v>105.85</c:v>
                </c:pt>
                <c:pt idx="336">
                  <c:v>105.78</c:v>
                </c:pt>
                <c:pt idx="337">
                  <c:v>104.98</c:v>
                </c:pt>
                <c:pt idx="338">
                  <c:v>106.83</c:v>
                </c:pt>
                <c:pt idx="339">
                  <c:v>107.39</c:v>
                </c:pt>
                <c:pt idx="340">
                  <c:v>108.09</c:v>
                </c:pt>
                <c:pt idx="341">
                  <c:v>109.1</c:v>
                </c:pt>
                <c:pt idx="342">
                  <c:v>109.01</c:v>
                </c:pt>
                <c:pt idx="343">
                  <c:v>108.62</c:v>
                </c:pt>
                <c:pt idx="344">
                  <c:v>109.74</c:v>
                </c:pt>
                <c:pt idx="345">
                  <c:v>109.69</c:v>
                </c:pt>
                <c:pt idx="346">
                  <c:v>110.01</c:v>
                </c:pt>
                <c:pt idx="347">
                  <c:v>111.27</c:v>
                </c:pt>
                <c:pt idx="348">
                  <c:v>112.28</c:v>
                </c:pt>
                <c:pt idx="349">
                  <c:v>112.64</c:v>
                </c:pt>
                <c:pt idx="350">
                  <c:v>112.84</c:v>
                </c:pt>
                <c:pt idx="351">
                  <c:v>112.72</c:v>
                </c:pt>
                <c:pt idx="352">
                  <c:v>113.79</c:v>
                </c:pt>
                <c:pt idx="353">
                  <c:v>114.31</c:v>
                </c:pt>
                <c:pt idx="354">
                  <c:v>113.64</c:v>
                </c:pt>
                <c:pt idx="355">
                  <c:v>114.25</c:v>
                </c:pt>
                <c:pt idx="356">
                  <c:v>114.31</c:v>
                </c:pt>
                <c:pt idx="357">
                  <c:v>114.66</c:v>
                </c:pt>
                <c:pt idx="358">
                  <c:v>114.92</c:v>
                </c:pt>
                <c:pt idx="359">
                  <c:v>115.27</c:v>
                </c:pt>
                <c:pt idx="360">
                  <c:v>115.31</c:v>
                </c:pt>
                <c:pt idx="361">
                  <c:v>114.83</c:v>
                </c:pt>
                <c:pt idx="362">
                  <c:v>114.88</c:v>
                </c:pt>
                <c:pt idx="363">
                  <c:v>115.53</c:v>
                </c:pt>
                <c:pt idx="364">
                  <c:v>114.65</c:v>
                </c:pt>
                <c:pt idx="365">
                  <c:v>114.48</c:v>
                </c:pt>
                <c:pt idx="366">
                  <c:v>113.96</c:v>
                </c:pt>
                <c:pt idx="367">
                  <c:v>114.38</c:v>
                </c:pt>
                <c:pt idx="368">
                  <c:v>114.99</c:v>
                </c:pt>
                <c:pt idx="369">
                  <c:v>115.48</c:v>
                </c:pt>
                <c:pt idx="370">
                  <c:v>117.16</c:v>
                </c:pt>
                <c:pt idx="371">
                  <c:v>117.53</c:v>
                </c:pt>
                <c:pt idx="372">
                  <c:v>116.52</c:v>
                </c:pt>
                <c:pt idx="373">
                  <c:v>116.74</c:v>
                </c:pt>
                <c:pt idx="374">
                  <c:v>116.57</c:v>
                </c:pt>
                <c:pt idx="375">
                  <c:v>116.24</c:v>
                </c:pt>
                <c:pt idx="376">
                  <c:v>116.88</c:v>
                </c:pt>
                <c:pt idx="377">
                  <c:v>117.16</c:v>
                </c:pt>
                <c:pt idx="378">
                  <c:v>117.91</c:v>
                </c:pt>
                <c:pt idx="379">
                  <c:v>118.6</c:v>
                </c:pt>
                <c:pt idx="380">
                  <c:v>118.27</c:v>
                </c:pt>
                <c:pt idx="381">
                  <c:v>118.16</c:v>
                </c:pt>
                <c:pt idx="382">
                  <c:v>117.98</c:v>
                </c:pt>
                <c:pt idx="383">
                  <c:v>117.72</c:v>
                </c:pt>
                <c:pt idx="384">
                  <c:v>117.53</c:v>
                </c:pt>
                <c:pt idx="385">
                  <c:v>116.83</c:v>
                </c:pt>
                <c:pt idx="386">
                  <c:v>117.25</c:v>
                </c:pt>
                <c:pt idx="387">
                  <c:v>117.49</c:v>
                </c:pt>
                <c:pt idx="388">
                  <c:v>117.54</c:v>
                </c:pt>
                <c:pt idx="389">
                  <c:v>118.43</c:v>
                </c:pt>
                <c:pt idx="390">
                  <c:v>119.06</c:v>
                </c:pt>
                <c:pt idx="391">
                  <c:v>118.22</c:v>
                </c:pt>
                <c:pt idx="392">
                  <c:v>116.83</c:v>
                </c:pt>
                <c:pt idx="393">
                  <c:v>117.29</c:v>
                </c:pt>
                <c:pt idx="394">
                  <c:v>117.78</c:v>
                </c:pt>
                <c:pt idx="395">
                  <c:v>119.29</c:v>
                </c:pt>
                <c:pt idx="396">
                  <c:v>118.92</c:v>
                </c:pt>
                <c:pt idx="397">
                  <c:v>120.94</c:v>
                </c:pt>
                <c:pt idx="398">
                  <c:v>121.47</c:v>
                </c:pt>
                <c:pt idx="399">
                  <c:v>121.87</c:v>
                </c:pt>
                <c:pt idx="400">
                  <c:v>121.53</c:v>
                </c:pt>
                <c:pt idx="401">
                  <c:v>121.29</c:v>
                </c:pt>
                <c:pt idx="402">
                  <c:v>120.66</c:v>
                </c:pt>
                <c:pt idx="403">
                  <c:v>120.56</c:v>
                </c:pt>
                <c:pt idx="404">
                  <c:v>119.82</c:v>
                </c:pt>
                <c:pt idx="405">
                  <c:v>119.55</c:v>
                </c:pt>
                <c:pt idx="406">
                  <c:v>120.33</c:v>
                </c:pt>
                <c:pt idx="407">
                  <c:v>120.31</c:v>
                </c:pt>
                <c:pt idx="408">
                  <c:v>119.87</c:v>
                </c:pt>
                <c:pt idx="409">
                  <c:v>119.33</c:v>
                </c:pt>
                <c:pt idx="410">
                  <c:v>119.58</c:v>
                </c:pt>
                <c:pt idx="411">
                  <c:v>120.83</c:v>
                </c:pt>
                <c:pt idx="412">
                  <c:v>119.85</c:v>
                </c:pt>
                <c:pt idx="413">
                  <c:v>119.56</c:v>
                </c:pt>
                <c:pt idx="414">
                  <c:v>119.93</c:v>
                </c:pt>
                <c:pt idx="415">
                  <c:v>116.97</c:v>
                </c:pt>
                <c:pt idx="416">
                  <c:v>117.27</c:v>
                </c:pt>
                <c:pt idx="417">
                  <c:v>118.43</c:v>
                </c:pt>
                <c:pt idx="418">
                  <c:v>117.85</c:v>
                </c:pt>
                <c:pt idx="419">
                  <c:v>117.93</c:v>
                </c:pt>
                <c:pt idx="420">
                  <c:v>119.04</c:v>
                </c:pt>
                <c:pt idx="421">
                  <c:v>118.98</c:v>
                </c:pt>
                <c:pt idx="422">
                  <c:v>118.25</c:v>
                </c:pt>
                <c:pt idx="423">
                  <c:v>118.04</c:v>
                </c:pt>
                <c:pt idx="424">
                  <c:v>117.21</c:v>
                </c:pt>
                <c:pt idx="425">
                  <c:v>117.2</c:v>
                </c:pt>
                <c:pt idx="426">
                  <c:v>118.65</c:v>
                </c:pt>
                <c:pt idx="427">
                  <c:v>118.98</c:v>
                </c:pt>
                <c:pt idx="428">
                  <c:v>119.22</c:v>
                </c:pt>
                <c:pt idx="429">
                  <c:v>119.08</c:v>
                </c:pt>
                <c:pt idx="430">
                  <c:v>119.4</c:v>
                </c:pt>
                <c:pt idx="431">
                  <c:v>119.61</c:v>
                </c:pt>
                <c:pt idx="432">
                  <c:v>118.99</c:v>
                </c:pt>
                <c:pt idx="433">
                  <c:v>117.61</c:v>
                </c:pt>
                <c:pt idx="434">
                  <c:v>117.79</c:v>
                </c:pt>
                <c:pt idx="435">
                  <c:v>117.34</c:v>
                </c:pt>
                <c:pt idx="436">
                  <c:v>117.04</c:v>
                </c:pt>
                <c:pt idx="437">
                  <c:v>117.27</c:v>
                </c:pt>
                <c:pt idx="438">
                  <c:v>117.17</c:v>
                </c:pt>
                <c:pt idx="439">
                  <c:v>116.46</c:v>
                </c:pt>
                <c:pt idx="440">
                  <c:v>116.06</c:v>
                </c:pt>
                <c:pt idx="441">
                  <c:v>115.48</c:v>
                </c:pt>
                <c:pt idx="442">
                  <c:v>114.62</c:v>
                </c:pt>
                <c:pt idx="443">
                  <c:v>113.21</c:v>
                </c:pt>
                <c:pt idx="444">
                  <c:v>114.07</c:v>
                </c:pt>
                <c:pt idx="445">
                  <c:v>115.01</c:v>
                </c:pt>
                <c:pt idx="446">
                  <c:v>115.34</c:v>
                </c:pt>
                <c:pt idx="447">
                  <c:v>115.74</c:v>
                </c:pt>
                <c:pt idx="448">
                  <c:v>116.1</c:v>
                </c:pt>
                <c:pt idx="449">
                  <c:v>116.03</c:v>
                </c:pt>
                <c:pt idx="450">
                  <c:v>117.22</c:v>
                </c:pt>
                <c:pt idx="451">
                  <c:v>116.65</c:v>
                </c:pt>
                <c:pt idx="452">
                  <c:v>116.55</c:v>
                </c:pt>
                <c:pt idx="453">
                  <c:v>114.19</c:v>
                </c:pt>
                <c:pt idx="454">
                  <c:v>112.75</c:v>
                </c:pt>
                <c:pt idx="455">
                  <c:v>113.74</c:v>
                </c:pt>
                <c:pt idx="456">
                  <c:v>115.94</c:v>
                </c:pt>
                <c:pt idx="457">
                  <c:v>116.08</c:v>
                </c:pt>
                <c:pt idx="458">
                  <c:v>116.74</c:v>
                </c:pt>
                <c:pt idx="459">
                  <c:v>115.96</c:v>
                </c:pt>
                <c:pt idx="460">
                  <c:v>117.17</c:v>
                </c:pt>
                <c:pt idx="461">
                  <c:v>115.96</c:v>
                </c:pt>
                <c:pt idx="462">
                  <c:v>116.29</c:v>
                </c:pt>
                <c:pt idx="463">
                  <c:v>117.27</c:v>
                </c:pt>
                <c:pt idx="464">
                  <c:v>118.04</c:v>
                </c:pt>
                <c:pt idx="465">
                  <c:v>118.57</c:v>
                </c:pt>
                <c:pt idx="466">
                  <c:v>118.63</c:v>
                </c:pt>
                <c:pt idx="467">
                  <c:v>117.39</c:v>
                </c:pt>
                <c:pt idx="468">
                  <c:v>117.9</c:v>
                </c:pt>
                <c:pt idx="469">
                  <c:v>116.72</c:v>
                </c:pt>
                <c:pt idx="470">
                  <c:v>117.01</c:v>
                </c:pt>
                <c:pt idx="471">
                  <c:v>118.27</c:v>
                </c:pt>
                <c:pt idx="472">
                  <c:v>118.39</c:v>
                </c:pt>
                <c:pt idx="473">
                  <c:v>119.4</c:v>
                </c:pt>
                <c:pt idx="474">
                  <c:v>120.88</c:v>
                </c:pt>
                <c:pt idx="475">
                  <c:v>121.74</c:v>
                </c:pt>
                <c:pt idx="476">
                  <c:v>122.56</c:v>
                </c:pt>
                <c:pt idx="477">
                  <c:v>123.07</c:v>
                </c:pt>
                <c:pt idx="478">
                  <c:v>122.55</c:v>
                </c:pt>
                <c:pt idx="479">
                  <c:v>122.08</c:v>
                </c:pt>
                <c:pt idx="480">
                  <c:v>122.02</c:v>
                </c:pt>
                <c:pt idx="481">
                  <c:v>122.08</c:v>
                </c:pt>
                <c:pt idx="482">
                  <c:v>121.58</c:v>
                </c:pt>
                <c:pt idx="483">
                  <c:v>122.78</c:v>
                </c:pt>
                <c:pt idx="484">
                  <c:v>122.83</c:v>
                </c:pt>
                <c:pt idx="485">
                  <c:v>123.46</c:v>
                </c:pt>
                <c:pt idx="486">
                  <c:v>123.9</c:v>
                </c:pt>
                <c:pt idx="487">
                  <c:v>124.85</c:v>
                </c:pt>
                <c:pt idx="488">
                  <c:v>124.18</c:v>
                </c:pt>
                <c:pt idx="489">
                  <c:v>122.66</c:v>
                </c:pt>
                <c:pt idx="490">
                  <c:v>122.09</c:v>
                </c:pt>
                <c:pt idx="491">
                  <c:v>121.57</c:v>
                </c:pt>
                <c:pt idx="492">
                  <c:v>122.44</c:v>
                </c:pt>
                <c:pt idx="493">
                  <c:v>123.93</c:v>
                </c:pt>
                <c:pt idx="494">
                  <c:v>125.65</c:v>
                </c:pt>
                <c:pt idx="495">
                  <c:v>124.61</c:v>
                </c:pt>
                <c:pt idx="496">
                  <c:v>124.56</c:v>
                </c:pt>
                <c:pt idx="497">
                  <c:v>124.65</c:v>
                </c:pt>
                <c:pt idx="498">
                  <c:v>125.22</c:v>
                </c:pt>
                <c:pt idx="499">
                  <c:v>125.38</c:v>
                </c:pt>
                <c:pt idx="500">
                  <c:v>126.13</c:v>
                </c:pt>
                <c:pt idx="501">
                  <c:v>126.82</c:v>
                </c:pt>
                <c:pt idx="502">
                  <c:v>127.52</c:v>
                </c:pt>
                <c:pt idx="503">
                  <c:v>127.49</c:v>
                </c:pt>
                <c:pt idx="504">
                  <c:v>126.92</c:v>
                </c:pt>
                <c:pt idx="505">
                  <c:v>127.38</c:v>
                </c:pt>
                <c:pt idx="506">
                  <c:v>127.74</c:v>
                </c:pt>
                <c:pt idx="507">
                  <c:v>127.98</c:v>
                </c:pt>
                <c:pt idx="508">
                  <c:v>128.94</c:v>
                </c:pt>
                <c:pt idx="509">
                  <c:v>128.46</c:v>
                </c:pt>
                <c:pt idx="510">
                  <c:v>127.43</c:v>
                </c:pt>
                <c:pt idx="511">
                  <c:v>126.99</c:v>
                </c:pt>
                <c:pt idx="512">
                  <c:v>125.64</c:v>
                </c:pt>
                <c:pt idx="513">
                  <c:v>126.31</c:v>
                </c:pt>
                <c:pt idx="514">
                  <c:v>126.4</c:v>
                </c:pt>
                <c:pt idx="515">
                  <c:v>125.66</c:v>
                </c:pt>
                <c:pt idx="516">
                  <c:v>125.98</c:v>
                </c:pt>
                <c:pt idx="517">
                  <c:v>125.19</c:v>
                </c:pt>
                <c:pt idx="518">
                  <c:v>124.82</c:v>
                </c:pt>
                <c:pt idx="519">
                  <c:v>125.21</c:v>
                </c:pt>
                <c:pt idx="520">
                  <c:v>124.82</c:v>
                </c:pt>
                <c:pt idx="521">
                  <c:v>124.27</c:v>
                </c:pt>
                <c:pt idx="522">
                  <c:v>126.29</c:v>
                </c:pt>
                <c:pt idx="523">
                  <c:v>126.11</c:v>
                </c:pt>
                <c:pt idx="524">
                  <c:v>125.74</c:v>
                </c:pt>
                <c:pt idx="525">
                  <c:v>125.66</c:v>
                </c:pt>
                <c:pt idx="526">
                  <c:v>125.76</c:v>
                </c:pt>
                <c:pt idx="527">
                  <c:v>126.76</c:v>
                </c:pt>
                <c:pt idx="528">
                  <c:v>126.17</c:v>
                </c:pt>
                <c:pt idx="529">
                  <c:v>125.79</c:v>
                </c:pt>
                <c:pt idx="530">
                  <c:v>126.09</c:v>
                </c:pt>
                <c:pt idx="531">
                  <c:v>126.51</c:v>
                </c:pt>
                <c:pt idx="532">
                  <c:v>126.88</c:v>
                </c:pt>
                <c:pt idx="533">
                  <c:v>126.88</c:v>
                </c:pt>
                <c:pt idx="534">
                  <c:v>127.03</c:v>
                </c:pt>
                <c:pt idx="535">
                  <c:v>126.22</c:v>
                </c:pt>
                <c:pt idx="536">
                  <c:v>125.82</c:v>
                </c:pt>
                <c:pt idx="537">
                  <c:v>126.64</c:v>
                </c:pt>
                <c:pt idx="538">
                  <c:v>125.75</c:v>
                </c:pt>
                <c:pt idx="539">
                  <c:v>126.08</c:v>
                </c:pt>
                <c:pt idx="540">
                  <c:v>125.84</c:v>
                </c:pt>
                <c:pt idx="541">
                  <c:v>126.11</c:v>
                </c:pt>
                <c:pt idx="542">
                  <c:v>126.08</c:v>
                </c:pt>
                <c:pt idx="543">
                  <c:v>126.12</c:v>
                </c:pt>
                <c:pt idx="544">
                  <c:v>126.2</c:v>
                </c:pt>
                <c:pt idx="545">
                  <c:v>125.71</c:v>
                </c:pt>
                <c:pt idx="546">
                  <c:v>124.85</c:v>
                </c:pt>
                <c:pt idx="547">
                  <c:v>124.82</c:v>
                </c:pt>
                <c:pt idx="548">
                  <c:v>124.35</c:v>
                </c:pt>
                <c:pt idx="549">
                  <c:v>125.27</c:v>
                </c:pt>
                <c:pt idx="550">
                  <c:v>126</c:v>
                </c:pt>
                <c:pt idx="551">
                  <c:v>126.04</c:v>
                </c:pt>
                <c:pt idx="552">
                  <c:v>126.35</c:v>
                </c:pt>
                <c:pt idx="553">
                  <c:v>125.36</c:v>
                </c:pt>
                <c:pt idx="554">
                  <c:v>124.85</c:v>
                </c:pt>
                <c:pt idx="555">
                  <c:v>123.93</c:v>
                </c:pt>
                <c:pt idx="556">
                  <c:v>123.79</c:v>
                </c:pt>
                <c:pt idx="557">
                  <c:v>124.27</c:v>
                </c:pt>
                <c:pt idx="558">
                  <c:v>124.27</c:v>
                </c:pt>
                <c:pt idx="559">
                  <c:v>124.2</c:v>
                </c:pt>
                <c:pt idx="560">
                  <c:v>124</c:v>
                </c:pt>
                <c:pt idx="561">
                  <c:v>124.16</c:v>
                </c:pt>
                <c:pt idx="562">
                  <c:v>125.44</c:v>
                </c:pt>
                <c:pt idx="563">
                  <c:v>125.69</c:v>
                </c:pt>
                <c:pt idx="564">
                  <c:v>126.04</c:v>
                </c:pt>
                <c:pt idx="565">
                  <c:v>126.61</c:v>
                </c:pt>
                <c:pt idx="566">
                  <c:v>125.07</c:v>
                </c:pt>
                <c:pt idx="567">
                  <c:v>124.15</c:v>
                </c:pt>
                <c:pt idx="568">
                  <c:v>124.27</c:v>
                </c:pt>
                <c:pt idx="569">
                  <c:v>124.08</c:v>
                </c:pt>
                <c:pt idx="570">
                  <c:v>123.85</c:v>
                </c:pt>
                <c:pt idx="571">
                  <c:v>122.33</c:v>
                </c:pt>
                <c:pt idx="572">
                  <c:v>121.39</c:v>
                </c:pt>
                <c:pt idx="573">
                  <c:v>122.18</c:v>
                </c:pt>
                <c:pt idx="574">
                  <c:v>123.78</c:v>
                </c:pt>
                <c:pt idx="575">
                  <c:v>123.96</c:v>
                </c:pt>
                <c:pt idx="576">
                  <c:v>124.1</c:v>
                </c:pt>
                <c:pt idx="577">
                  <c:v>124.09</c:v>
                </c:pt>
                <c:pt idx="578">
                  <c:v>124.74</c:v>
                </c:pt>
                <c:pt idx="579">
                  <c:v>124.48</c:v>
                </c:pt>
                <c:pt idx="580">
                  <c:v>124.52</c:v>
                </c:pt>
                <c:pt idx="581">
                  <c:v>125.12</c:v>
                </c:pt>
                <c:pt idx="582">
                  <c:v>125.54</c:v>
                </c:pt>
                <c:pt idx="583">
                  <c:v>125.3</c:v>
                </c:pt>
                <c:pt idx="584">
                  <c:v>124.61</c:v>
                </c:pt>
                <c:pt idx="585">
                  <c:v>124.46</c:v>
                </c:pt>
                <c:pt idx="586">
                  <c:v>124.81</c:v>
                </c:pt>
                <c:pt idx="587">
                  <c:v>125.94</c:v>
                </c:pt>
                <c:pt idx="588">
                  <c:v>126.67</c:v>
                </c:pt>
                <c:pt idx="589">
                  <c:v>126.81</c:v>
                </c:pt>
                <c:pt idx="590">
                  <c:v>126.84</c:v>
                </c:pt>
                <c:pt idx="591">
                  <c:v>126.7</c:v>
                </c:pt>
                <c:pt idx="592">
                  <c:v>125.85</c:v>
                </c:pt>
                <c:pt idx="593">
                  <c:v>125.46</c:v>
                </c:pt>
                <c:pt idx="594">
                  <c:v>125.85</c:v>
                </c:pt>
                <c:pt idx="595">
                  <c:v>126.54</c:v>
                </c:pt>
                <c:pt idx="596">
                  <c:v>126.25</c:v>
                </c:pt>
                <c:pt idx="597">
                  <c:v>126.75</c:v>
                </c:pt>
                <c:pt idx="598">
                  <c:v>126.37</c:v>
                </c:pt>
                <c:pt idx="599">
                  <c:v>125.92</c:v>
                </c:pt>
                <c:pt idx="600">
                  <c:v>125.54</c:v>
                </c:pt>
                <c:pt idx="601">
                  <c:v>124.72</c:v>
                </c:pt>
                <c:pt idx="602">
                  <c:v>126.11</c:v>
                </c:pt>
                <c:pt idx="603">
                  <c:v>128.28</c:v>
                </c:pt>
                <c:pt idx="604">
                  <c:v>129.44</c:v>
                </c:pt>
                <c:pt idx="605">
                  <c:v>130.46</c:v>
                </c:pt>
                <c:pt idx="606">
                  <c:v>129.63999999999999</c:v>
                </c:pt>
                <c:pt idx="607">
                  <c:v>129.55000000000001</c:v>
                </c:pt>
                <c:pt idx="608">
                  <c:v>130.24</c:v>
                </c:pt>
                <c:pt idx="609">
                  <c:v>129.62</c:v>
                </c:pt>
                <c:pt idx="610">
                  <c:v>128.63999999999999</c:v>
                </c:pt>
                <c:pt idx="611">
                  <c:v>128.29</c:v>
                </c:pt>
                <c:pt idx="612">
                  <c:v>128.71</c:v>
                </c:pt>
                <c:pt idx="613">
                  <c:v>128.85</c:v>
                </c:pt>
                <c:pt idx="614">
                  <c:v>128.91</c:v>
                </c:pt>
                <c:pt idx="615">
                  <c:v>129.75</c:v>
                </c:pt>
                <c:pt idx="616">
                  <c:v>129.65</c:v>
                </c:pt>
                <c:pt idx="617">
                  <c:v>130.31</c:v>
                </c:pt>
                <c:pt idx="618">
                  <c:v>130.30000000000001</c:v>
                </c:pt>
                <c:pt idx="619">
                  <c:v>129.69</c:v>
                </c:pt>
                <c:pt idx="620">
                  <c:v>129.56</c:v>
                </c:pt>
                <c:pt idx="621">
                  <c:v>129.47999999999999</c:v>
                </c:pt>
                <c:pt idx="622">
                  <c:v>130.01</c:v>
                </c:pt>
                <c:pt idx="623">
                  <c:v>129.08000000000001</c:v>
                </c:pt>
                <c:pt idx="624">
                  <c:v>128.71</c:v>
                </c:pt>
                <c:pt idx="625">
                  <c:v>128.55000000000001</c:v>
                </c:pt>
                <c:pt idx="626">
                  <c:v>128.31</c:v>
                </c:pt>
                <c:pt idx="627">
                  <c:v>129.02000000000001</c:v>
                </c:pt>
                <c:pt idx="628">
                  <c:v>129.28</c:v>
                </c:pt>
                <c:pt idx="629">
                  <c:v>130.16999999999999</c:v>
                </c:pt>
                <c:pt idx="630">
                  <c:v>131.03</c:v>
                </c:pt>
                <c:pt idx="631">
                  <c:v>130.62</c:v>
                </c:pt>
                <c:pt idx="632">
                  <c:v>130.57</c:v>
                </c:pt>
                <c:pt idx="633">
                  <c:v>130.88999999999999</c:v>
                </c:pt>
                <c:pt idx="634">
                  <c:v>131.63999999999999</c:v>
                </c:pt>
                <c:pt idx="635">
                  <c:v>131.12</c:v>
                </c:pt>
                <c:pt idx="636">
                  <c:v>131.30000000000001</c:v>
                </c:pt>
                <c:pt idx="637">
                  <c:v>132.29</c:v>
                </c:pt>
                <c:pt idx="638">
                  <c:v>131.33000000000001</c:v>
                </c:pt>
                <c:pt idx="639">
                  <c:v>131.11000000000001</c:v>
                </c:pt>
                <c:pt idx="640">
                  <c:v>132.66</c:v>
                </c:pt>
                <c:pt idx="641">
                  <c:v>131.19999999999999</c:v>
                </c:pt>
                <c:pt idx="642">
                  <c:v>132.13</c:v>
                </c:pt>
                <c:pt idx="643">
                  <c:v>133.01</c:v>
                </c:pt>
                <c:pt idx="644">
                  <c:v>133.96</c:v>
                </c:pt>
                <c:pt idx="645">
                  <c:v>134.55000000000001</c:v>
                </c:pt>
                <c:pt idx="646">
                  <c:v>134.61000000000001</c:v>
                </c:pt>
                <c:pt idx="647">
                  <c:v>135.88</c:v>
                </c:pt>
                <c:pt idx="648">
                  <c:v>136.38999999999999</c:v>
                </c:pt>
                <c:pt idx="649">
                  <c:v>135.78</c:v>
                </c:pt>
                <c:pt idx="650">
                  <c:v>137.19</c:v>
                </c:pt>
                <c:pt idx="651">
                  <c:v>137.43</c:v>
                </c:pt>
                <c:pt idx="652">
                  <c:v>137.21</c:v>
                </c:pt>
                <c:pt idx="653">
                  <c:v>137.65</c:v>
                </c:pt>
                <c:pt idx="654">
                  <c:v>138.29</c:v>
                </c:pt>
                <c:pt idx="655">
                  <c:v>137.85</c:v>
                </c:pt>
                <c:pt idx="656">
                  <c:v>137.69999999999999</c:v>
                </c:pt>
                <c:pt idx="657">
                  <c:v>138.09</c:v>
                </c:pt>
                <c:pt idx="658">
                  <c:v>138.16999999999999</c:v>
                </c:pt>
                <c:pt idx="659">
                  <c:v>137.75</c:v>
                </c:pt>
                <c:pt idx="660">
                  <c:v>137.51</c:v>
                </c:pt>
                <c:pt idx="661">
                  <c:v>138.21</c:v>
                </c:pt>
                <c:pt idx="662">
                  <c:v>139.04</c:v>
                </c:pt>
                <c:pt idx="663">
                  <c:v>139.65</c:v>
                </c:pt>
                <c:pt idx="664">
                  <c:v>139.51</c:v>
                </c:pt>
                <c:pt idx="665">
                  <c:v>139.61000000000001</c:v>
                </c:pt>
                <c:pt idx="666">
                  <c:v>138.65</c:v>
                </c:pt>
                <c:pt idx="667">
                  <c:v>138.21</c:v>
                </c:pt>
                <c:pt idx="668">
                  <c:v>136.13</c:v>
                </c:pt>
                <c:pt idx="669">
                  <c:v>136.96</c:v>
                </c:pt>
                <c:pt idx="670">
                  <c:v>137.16999999999999</c:v>
                </c:pt>
                <c:pt idx="671">
                  <c:v>138.78</c:v>
                </c:pt>
                <c:pt idx="672">
                  <c:v>139.37</c:v>
                </c:pt>
                <c:pt idx="673">
                  <c:v>139.12</c:v>
                </c:pt>
                <c:pt idx="674">
                  <c:v>136.96</c:v>
                </c:pt>
                <c:pt idx="675">
                  <c:v>137.15</c:v>
                </c:pt>
                <c:pt idx="676">
                  <c:v>136.43</c:v>
                </c:pt>
                <c:pt idx="677">
                  <c:v>135.35</c:v>
                </c:pt>
                <c:pt idx="678">
                  <c:v>136.19</c:v>
                </c:pt>
                <c:pt idx="679">
                  <c:v>137.22</c:v>
                </c:pt>
                <c:pt idx="680">
                  <c:v>138.97</c:v>
                </c:pt>
                <c:pt idx="681">
                  <c:v>139.91</c:v>
                </c:pt>
                <c:pt idx="682">
                  <c:v>140.63</c:v>
                </c:pt>
                <c:pt idx="683">
                  <c:v>140.34</c:v>
                </c:pt>
                <c:pt idx="684">
                  <c:v>140.6</c:v>
                </c:pt>
                <c:pt idx="685">
                  <c:v>140.44</c:v>
                </c:pt>
                <c:pt idx="686">
                  <c:v>139.51</c:v>
                </c:pt>
                <c:pt idx="687">
                  <c:v>141.03</c:v>
                </c:pt>
                <c:pt idx="688">
                  <c:v>141.76</c:v>
                </c:pt>
                <c:pt idx="689">
                  <c:v>142.37</c:v>
                </c:pt>
                <c:pt idx="690">
                  <c:v>143.08000000000001</c:v>
                </c:pt>
                <c:pt idx="691">
                  <c:v>143.30000000000001</c:v>
                </c:pt>
                <c:pt idx="692">
                  <c:v>143.47</c:v>
                </c:pt>
                <c:pt idx="693">
                  <c:v>144.82</c:v>
                </c:pt>
                <c:pt idx="694">
                  <c:v>144.88999999999999</c:v>
                </c:pt>
                <c:pt idx="695">
                  <c:v>145.75</c:v>
                </c:pt>
                <c:pt idx="696">
                  <c:v>147.65</c:v>
                </c:pt>
                <c:pt idx="697">
                  <c:v>146.79</c:v>
                </c:pt>
                <c:pt idx="698">
                  <c:v>148.13</c:v>
                </c:pt>
                <c:pt idx="699">
                  <c:v>148.54</c:v>
                </c:pt>
                <c:pt idx="700">
                  <c:v>148.56</c:v>
                </c:pt>
                <c:pt idx="701">
                  <c:v>147.83000000000001</c:v>
                </c:pt>
                <c:pt idx="702">
                  <c:v>145.54</c:v>
                </c:pt>
                <c:pt idx="703">
                  <c:v>145.19999999999999</c:v>
                </c:pt>
                <c:pt idx="704">
                  <c:v>144.75</c:v>
                </c:pt>
                <c:pt idx="705">
                  <c:v>146.46</c:v>
                </c:pt>
                <c:pt idx="706">
                  <c:v>144.53</c:v>
                </c:pt>
                <c:pt idx="707">
                  <c:v>143.72999999999999</c:v>
                </c:pt>
                <c:pt idx="708">
                  <c:v>142.88999999999999</c:v>
                </c:pt>
                <c:pt idx="709">
                  <c:v>142.19</c:v>
                </c:pt>
                <c:pt idx="710">
                  <c:v>141.85</c:v>
                </c:pt>
                <c:pt idx="711">
                  <c:v>139.57</c:v>
                </c:pt>
                <c:pt idx="712">
                  <c:v>138.75</c:v>
                </c:pt>
                <c:pt idx="713">
                  <c:v>139.88999999999999</c:v>
                </c:pt>
                <c:pt idx="714">
                  <c:v>140.47999999999999</c:v>
                </c:pt>
                <c:pt idx="715">
                  <c:v>138.72999999999999</c:v>
                </c:pt>
                <c:pt idx="716">
                  <c:v>137.65</c:v>
                </c:pt>
                <c:pt idx="717">
                  <c:v>138.54</c:v>
                </c:pt>
                <c:pt idx="718">
                  <c:v>138.15</c:v>
                </c:pt>
                <c:pt idx="719">
                  <c:v>139.34</c:v>
                </c:pt>
                <c:pt idx="720">
                  <c:v>139.4</c:v>
                </c:pt>
                <c:pt idx="721">
                  <c:v>138.6</c:v>
                </c:pt>
                <c:pt idx="722">
                  <c:v>136.11000000000001</c:v>
                </c:pt>
                <c:pt idx="723">
                  <c:v>136.25</c:v>
                </c:pt>
                <c:pt idx="724">
                  <c:v>134.72999999999999</c:v>
                </c:pt>
                <c:pt idx="725">
                  <c:v>136</c:v>
                </c:pt>
                <c:pt idx="726">
                  <c:v>138.06</c:v>
                </c:pt>
                <c:pt idx="727">
                  <c:v>139.11000000000001</c:v>
                </c:pt>
                <c:pt idx="728">
                  <c:v>139</c:v>
                </c:pt>
                <c:pt idx="729">
                  <c:v>139.66999999999999</c:v>
                </c:pt>
                <c:pt idx="730">
                  <c:v>139.74</c:v>
                </c:pt>
                <c:pt idx="731">
                  <c:v>139.97999999999999</c:v>
                </c:pt>
                <c:pt idx="732">
                  <c:v>141.4</c:v>
                </c:pt>
                <c:pt idx="733">
                  <c:v>142.35</c:v>
                </c:pt>
                <c:pt idx="734">
                  <c:v>142.82</c:v>
                </c:pt>
                <c:pt idx="735">
                  <c:v>144.79</c:v>
                </c:pt>
                <c:pt idx="736">
                  <c:v>144.46</c:v>
                </c:pt>
                <c:pt idx="737">
                  <c:v>144.72</c:v>
                </c:pt>
                <c:pt idx="738">
                  <c:v>144.72999999999999</c:v>
                </c:pt>
                <c:pt idx="739">
                  <c:v>145.03</c:v>
                </c:pt>
                <c:pt idx="740">
                  <c:v>144.03</c:v>
                </c:pt>
                <c:pt idx="741">
                  <c:v>144.79</c:v>
                </c:pt>
                <c:pt idx="742">
                  <c:v>145.55000000000001</c:v>
                </c:pt>
                <c:pt idx="743">
                  <c:v>145.24</c:v>
                </c:pt>
                <c:pt idx="744">
                  <c:v>145.34</c:v>
                </c:pt>
                <c:pt idx="745">
                  <c:v>145.02000000000001</c:v>
                </c:pt>
                <c:pt idx="746">
                  <c:v>144.71</c:v>
                </c:pt>
                <c:pt idx="747">
                  <c:v>144.63</c:v>
                </c:pt>
                <c:pt idx="748">
                  <c:v>144.16</c:v>
                </c:pt>
                <c:pt idx="749">
                  <c:v>143.55000000000001</c:v>
                </c:pt>
                <c:pt idx="750">
                  <c:v>143.80000000000001</c:v>
                </c:pt>
                <c:pt idx="751">
                  <c:v>143.21</c:v>
                </c:pt>
                <c:pt idx="752">
                  <c:v>145.35</c:v>
                </c:pt>
                <c:pt idx="753">
                  <c:v>145.74</c:v>
                </c:pt>
                <c:pt idx="754">
                  <c:v>145.91999999999999</c:v>
                </c:pt>
                <c:pt idx="755">
                  <c:v>145</c:v>
                </c:pt>
                <c:pt idx="756">
                  <c:v>144.08000000000001</c:v>
                </c:pt>
                <c:pt idx="757">
                  <c:v>144.16999999999999</c:v>
                </c:pt>
                <c:pt idx="758">
                  <c:v>144.47999999999999</c:v>
                </c:pt>
                <c:pt idx="759">
                  <c:v>144.85</c:v>
                </c:pt>
                <c:pt idx="760">
                  <c:v>145.79</c:v>
                </c:pt>
                <c:pt idx="761">
                  <c:v>145.57</c:v>
                </c:pt>
                <c:pt idx="762">
                  <c:v>143.94</c:v>
                </c:pt>
                <c:pt idx="763">
                  <c:v>143.16</c:v>
                </c:pt>
                <c:pt idx="764">
                  <c:v>142.33000000000001</c:v>
                </c:pt>
                <c:pt idx="765">
                  <c:v>141.38</c:v>
                </c:pt>
                <c:pt idx="766">
                  <c:v>140.93</c:v>
                </c:pt>
                <c:pt idx="767">
                  <c:v>142</c:v>
                </c:pt>
                <c:pt idx="768">
                  <c:v>142.44</c:v>
                </c:pt>
                <c:pt idx="769">
                  <c:v>142.37</c:v>
                </c:pt>
                <c:pt idx="770">
                  <c:v>140.31</c:v>
                </c:pt>
                <c:pt idx="771">
                  <c:v>140.38999999999999</c:v>
                </c:pt>
                <c:pt idx="772">
                  <c:v>141.75</c:v>
                </c:pt>
                <c:pt idx="773">
                  <c:v>141.38</c:v>
                </c:pt>
                <c:pt idx="774">
                  <c:v>142.24</c:v>
                </c:pt>
                <c:pt idx="775">
                  <c:v>143.1</c:v>
                </c:pt>
                <c:pt idx="776">
                  <c:v>143.63</c:v>
                </c:pt>
                <c:pt idx="777">
                  <c:v>144.63</c:v>
                </c:pt>
                <c:pt idx="778">
                  <c:v>144.66999999999999</c:v>
                </c:pt>
                <c:pt idx="779">
                  <c:v>144.97999999999999</c:v>
                </c:pt>
                <c:pt idx="780">
                  <c:v>146.13</c:v>
                </c:pt>
                <c:pt idx="781">
                  <c:v>146.37</c:v>
                </c:pt>
                <c:pt idx="782">
                  <c:v>146.07</c:v>
                </c:pt>
                <c:pt idx="783">
                  <c:v>146.66999999999999</c:v>
                </c:pt>
                <c:pt idx="784">
                  <c:v>146.9</c:v>
                </c:pt>
                <c:pt idx="785">
                  <c:v>146.97999999999999</c:v>
                </c:pt>
                <c:pt idx="786">
                  <c:v>148.29</c:v>
                </c:pt>
                <c:pt idx="787">
                  <c:v>147.31</c:v>
                </c:pt>
                <c:pt idx="788">
                  <c:v>146.79</c:v>
                </c:pt>
                <c:pt idx="789">
                  <c:v>146.49</c:v>
                </c:pt>
                <c:pt idx="790">
                  <c:v>146.30000000000001</c:v>
                </c:pt>
                <c:pt idx="791">
                  <c:v>145.97999999999999</c:v>
                </c:pt>
                <c:pt idx="792">
                  <c:v>146.63999999999999</c:v>
                </c:pt>
                <c:pt idx="793">
                  <c:v>145.85</c:v>
                </c:pt>
                <c:pt idx="794">
                  <c:v>144.82</c:v>
                </c:pt>
                <c:pt idx="795">
                  <c:v>145.87</c:v>
                </c:pt>
                <c:pt idx="796">
                  <c:v>144.94</c:v>
                </c:pt>
                <c:pt idx="797">
                  <c:v>143.85</c:v>
                </c:pt>
                <c:pt idx="798">
                  <c:v>144.56</c:v>
                </c:pt>
                <c:pt idx="799">
                  <c:v>143.78</c:v>
                </c:pt>
                <c:pt idx="800">
                  <c:v>142.34</c:v>
                </c:pt>
                <c:pt idx="801">
                  <c:v>142.9</c:v>
                </c:pt>
                <c:pt idx="802">
                  <c:v>145.26</c:v>
                </c:pt>
                <c:pt idx="803">
                  <c:v>145.91999999999999</c:v>
                </c:pt>
                <c:pt idx="804">
                  <c:v>146.16</c:v>
                </c:pt>
                <c:pt idx="805">
                  <c:v>146.66</c:v>
                </c:pt>
                <c:pt idx="806">
                  <c:v>147.88999999999999</c:v>
                </c:pt>
                <c:pt idx="807">
                  <c:v>147.57</c:v>
                </c:pt>
                <c:pt idx="808">
                  <c:v>148.30000000000001</c:v>
                </c:pt>
                <c:pt idx="809">
                  <c:v>148.69</c:v>
                </c:pt>
                <c:pt idx="810">
                  <c:v>148.63</c:v>
                </c:pt>
                <c:pt idx="811">
                  <c:v>147.72</c:v>
                </c:pt>
                <c:pt idx="812">
                  <c:v>148.07</c:v>
                </c:pt>
                <c:pt idx="813">
                  <c:v>148.11000000000001</c:v>
                </c:pt>
                <c:pt idx="814">
                  <c:v>148.43</c:v>
                </c:pt>
                <c:pt idx="815">
                  <c:v>148.96</c:v>
                </c:pt>
                <c:pt idx="816">
                  <c:v>148.76</c:v>
                </c:pt>
                <c:pt idx="817">
                  <c:v>149.88</c:v>
                </c:pt>
                <c:pt idx="818">
                  <c:v>150.54</c:v>
                </c:pt>
                <c:pt idx="819">
                  <c:v>150.83000000000001</c:v>
                </c:pt>
                <c:pt idx="820">
                  <c:v>150.84</c:v>
                </c:pt>
                <c:pt idx="821">
                  <c:v>151.13</c:v>
                </c:pt>
                <c:pt idx="822">
                  <c:v>151</c:v>
                </c:pt>
                <c:pt idx="823">
                  <c:v>152.04</c:v>
                </c:pt>
                <c:pt idx="824">
                  <c:v>151.84</c:v>
                </c:pt>
                <c:pt idx="825">
                  <c:v>151.33000000000001</c:v>
                </c:pt>
                <c:pt idx="826">
                  <c:v>151.97999999999999</c:v>
                </c:pt>
                <c:pt idx="827">
                  <c:v>152.47</c:v>
                </c:pt>
                <c:pt idx="828">
                  <c:v>153.11000000000001</c:v>
                </c:pt>
                <c:pt idx="829">
                  <c:v>152.71</c:v>
                </c:pt>
                <c:pt idx="830">
                  <c:v>152.12</c:v>
                </c:pt>
                <c:pt idx="831">
                  <c:v>152.34</c:v>
                </c:pt>
                <c:pt idx="832">
                  <c:v>152.81</c:v>
                </c:pt>
                <c:pt idx="833">
                  <c:v>152.74</c:v>
                </c:pt>
                <c:pt idx="834">
                  <c:v>153.02000000000001</c:v>
                </c:pt>
                <c:pt idx="835">
                  <c:v>152.27000000000001</c:v>
                </c:pt>
                <c:pt idx="836">
                  <c:v>152.38999999999999</c:v>
                </c:pt>
                <c:pt idx="837">
                  <c:v>152.53</c:v>
                </c:pt>
                <c:pt idx="838">
                  <c:v>152.31</c:v>
                </c:pt>
                <c:pt idx="839">
                  <c:v>152.29</c:v>
                </c:pt>
                <c:pt idx="840">
                  <c:v>151.19999999999999</c:v>
                </c:pt>
                <c:pt idx="841">
                  <c:v>150.72999999999999</c:v>
                </c:pt>
                <c:pt idx="842">
                  <c:v>149.08000000000001</c:v>
                </c:pt>
                <c:pt idx="843">
                  <c:v>150.06</c:v>
                </c:pt>
                <c:pt idx="844">
                  <c:v>150.16999999999999</c:v>
                </c:pt>
                <c:pt idx="845">
                  <c:v>149.29</c:v>
                </c:pt>
                <c:pt idx="846">
                  <c:v>147.84</c:v>
                </c:pt>
                <c:pt idx="847">
                  <c:v>147.16999999999999</c:v>
                </c:pt>
                <c:pt idx="848">
                  <c:v>147.30000000000001</c:v>
                </c:pt>
                <c:pt idx="849">
                  <c:v>147.99</c:v>
                </c:pt>
                <c:pt idx="850">
                  <c:v>147.75</c:v>
                </c:pt>
                <c:pt idx="851">
                  <c:v>149.34</c:v>
                </c:pt>
                <c:pt idx="852">
                  <c:v>150.83000000000001</c:v>
                </c:pt>
                <c:pt idx="853">
                  <c:v>151.56</c:v>
                </c:pt>
                <c:pt idx="854">
                  <c:v>152.16</c:v>
                </c:pt>
                <c:pt idx="855">
                  <c:v>152.80000000000001</c:v>
                </c:pt>
                <c:pt idx="856">
                  <c:v>153</c:v>
                </c:pt>
                <c:pt idx="857">
                  <c:v>152.81</c:v>
                </c:pt>
                <c:pt idx="858">
                  <c:v>153.63999999999999</c:v>
                </c:pt>
                <c:pt idx="859">
                  <c:v>153.57</c:v>
                </c:pt>
                <c:pt idx="860">
                  <c:v>154.19999999999999</c:v>
                </c:pt>
                <c:pt idx="861">
                  <c:v>153.43</c:v>
                </c:pt>
                <c:pt idx="862">
                  <c:v>154.38999999999999</c:v>
                </c:pt>
                <c:pt idx="863">
                  <c:v>154.76</c:v>
                </c:pt>
                <c:pt idx="864">
                  <c:v>154.58000000000001</c:v>
                </c:pt>
                <c:pt idx="865">
                  <c:v>154.46</c:v>
                </c:pt>
                <c:pt idx="866">
                  <c:v>153.84</c:v>
                </c:pt>
                <c:pt idx="867">
                  <c:v>153.97999999999999</c:v>
                </c:pt>
                <c:pt idx="868">
                  <c:v>155.80000000000001</c:v>
                </c:pt>
                <c:pt idx="869">
                  <c:v>155.63999999999999</c:v>
                </c:pt>
                <c:pt idx="870">
                  <c:v>155.97</c:v>
                </c:pt>
                <c:pt idx="871">
                  <c:v>155.87</c:v>
                </c:pt>
                <c:pt idx="872">
                  <c:v>156.29</c:v>
                </c:pt>
                <c:pt idx="873">
                  <c:v>156.30000000000001</c:v>
                </c:pt>
                <c:pt idx="874">
                  <c:v>153.96</c:v>
                </c:pt>
                <c:pt idx="875">
                  <c:v>150.93</c:v>
                </c:pt>
                <c:pt idx="876">
                  <c:v>149.75</c:v>
                </c:pt>
                <c:pt idx="877">
                  <c:v>150.44999999999999</c:v>
                </c:pt>
                <c:pt idx="878">
                  <c:v>150.06</c:v>
                </c:pt>
                <c:pt idx="879">
                  <c:v>151.22</c:v>
                </c:pt>
                <c:pt idx="880">
                  <c:v>151.28</c:v>
                </c:pt>
                <c:pt idx="881">
                  <c:v>148.44</c:v>
                </c:pt>
                <c:pt idx="882">
                  <c:v>148.21</c:v>
                </c:pt>
                <c:pt idx="883">
                  <c:v>148.28</c:v>
                </c:pt>
                <c:pt idx="884">
                  <c:v>149.49</c:v>
                </c:pt>
                <c:pt idx="885">
                  <c:v>151.09</c:v>
                </c:pt>
                <c:pt idx="886">
                  <c:v>151.27000000000001</c:v>
                </c:pt>
                <c:pt idx="887">
                  <c:v>152.58000000000001</c:v>
                </c:pt>
                <c:pt idx="888">
                  <c:v>153.96</c:v>
                </c:pt>
                <c:pt idx="889">
                  <c:v>153.56</c:v>
                </c:pt>
                <c:pt idx="890">
                  <c:v>153.97999999999999</c:v>
                </c:pt>
                <c:pt idx="891">
                  <c:v>154.16</c:v>
                </c:pt>
                <c:pt idx="892">
                  <c:v>154.28</c:v>
                </c:pt>
                <c:pt idx="893">
                  <c:v>153.80000000000001</c:v>
                </c:pt>
                <c:pt idx="894">
                  <c:v>154.29</c:v>
                </c:pt>
                <c:pt idx="895">
                  <c:v>154.35</c:v>
                </c:pt>
                <c:pt idx="896">
                  <c:v>155.36000000000001</c:v>
                </c:pt>
                <c:pt idx="897">
                  <c:v>155.44</c:v>
                </c:pt>
                <c:pt idx="898">
                  <c:v>155.76</c:v>
                </c:pt>
                <c:pt idx="899">
                  <c:v>155.96</c:v>
                </c:pt>
                <c:pt idx="900">
                  <c:v>155.18</c:v>
                </c:pt>
                <c:pt idx="901">
                  <c:v>153.72</c:v>
                </c:pt>
                <c:pt idx="902">
                  <c:v>156.16</c:v>
                </c:pt>
                <c:pt idx="903">
                  <c:v>156.37</c:v>
                </c:pt>
                <c:pt idx="904">
                  <c:v>155.96</c:v>
                </c:pt>
                <c:pt idx="905">
                  <c:v>155.28</c:v>
                </c:pt>
                <c:pt idx="906">
                  <c:v>154.65</c:v>
                </c:pt>
                <c:pt idx="907">
                  <c:v>154.44</c:v>
                </c:pt>
                <c:pt idx="908">
                  <c:v>153.43</c:v>
                </c:pt>
                <c:pt idx="909">
                  <c:v>151.94</c:v>
                </c:pt>
                <c:pt idx="910">
                  <c:v>150.94</c:v>
                </c:pt>
                <c:pt idx="911">
                  <c:v>152.11000000000001</c:v>
                </c:pt>
                <c:pt idx="912">
                  <c:v>153.34</c:v>
                </c:pt>
                <c:pt idx="913">
                  <c:v>152.71</c:v>
                </c:pt>
                <c:pt idx="914">
                  <c:v>153.69</c:v>
                </c:pt>
                <c:pt idx="915">
                  <c:v>153.61000000000001</c:v>
                </c:pt>
                <c:pt idx="916">
                  <c:v>152.93</c:v>
                </c:pt>
                <c:pt idx="917">
                  <c:v>153.91</c:v>
                </c:pt>
                <c:pt idx="918">
                  <c:v>153.78</c:v>
                </c:pt>
                <c:pt idx="919">
                  <c:v>154.34</c:v>
                </c:pt>
                <c:pt idx="920">
                  <c:v>155</c:v>
                </c:pt>
                <c:pt idx="921">
                  <c:v>155.80000000000001</c:v>
                </c:pt>
                <c:pt idx="922">
                  <c:v>156.57</c:v>
                </c:pt>
                <c:pt idx="923">
                  <c:v>157.24</c:v>
                </c:pt>
                <c:pt idx="924">
                  <c:v>157.62</c:v>
                </c:pt>
                <c:pt idx="925">
                  <c:v>157.12</c:v>
                </c:pt>
                <c:pt idx="926">
                  <c:v>155</c:v>
                </c:pt>
                <c:pt idx="927">
                  <c:v>154.76</c:v>
                </c:pt>
                <c:pt idx="928">
                  <c:v>155.47999999999999</c:v>
                </c:pt>
                <c:pt idx="929">
                  <c:v>153.16</c:v>
                </c:pt>
                <c:pt idx="930">
                  <c:v>151.44</c:v>
                </c:pt>
                <c:pt idx="931">
                  <c:v>152.72999999999999</c:v>
                </c:pt>
                <c:pt idx="932">
                  <c:v>152.84</c:v>
                </c:pt>
                <c:pt idx="933">
                  <c:v>154.78</c:v>
                </c:pt>
                <c:pt idx="934">
                  <c:v>154.97</c:v>
                </c:pt>
                <c:pt idx="935">
                  <c:v>156.56</c:v>
                </c:pt>
                <c:pt idx="936">
                  <c:v>156</c:v>
                </c:pt>
                <c:pt idx="937">
                  <c:v>156.28</c:v>
                </c:pt>
                <c:pt idx="938">
                  <c:v>155.16</c:v>
                </c:pt>
                <c:pt idx="939">
                  <c:v>155.22</c:v>
                </c:pt>
                <c:pt idx="940">
                  <c:v>156.43</c:v>
                </c:pt>
                <c:pt idx="941">
                  <c:v>156.4</c:v>
                </c:pt>
                <c:pt idx="942">
                  <c:v>156.69</c:v>
                </c:pt>
                <c:pt idx="943">
                  <c:v>156.61000000000001</c:v>
                </c:pt>
                <c:pt idx="944">
                  <c:v>156.58000000000001</c:v>
                </c:pt>
                <c:pt idx="945">
                  <c:v>155.44999999999999</c:v>
                </c:pt>
                <c:pt idx="946">
                  <c:v>155.6</c:v>
                </c:pt>
                <c:pt idx="947">
                  <c:v>156.62</c:v>
                </c:pt>
                <c:pt idx="948">
                  <c:v>157.51</c:v>
                </c:pt>
                <c:pt idx="949">
                  <c:v>158.62</c:v>
                </c:pt>
                <c:pt idx="950">
                  <c:v>159.53</c:v>
                </c:pt>
                <c:pt idx="951">
                  <c:v>159.29</c:v>
                </c:pt>
                <c:pt idx="952">
                  <c:v>158.04</c:v>
                </c:pt>
                <c:pt idx="953">
                  <c:v>158.27000000000001</c:v>
                </c:pt>
                <c:pt idx="954">
                  <c:v>158.30000000000001</c:v>
                </c:pt>
                <c:pt idx="955">
                  <c:v>157.91</c:v>
                </c:pt>
                <c:pt idx="956">
                  <c:v>159.09</c:v>
                </c:pt>
                <c:pt idx="957">
                  <c:v>159.80000000000001</c:v>
                </c:pt>
                <c:pt idx="958">
                  <c:v>160.63999999999999</c:v>
                </c:pt>
                <c:pt idx="959">
                  <c:v>160.94</c:v>
                </c:pt>
                <c:pt idx="960">
                  <c:v>161.81</c:v>
                </c:pt>
                <c:pt idx="961">
                  <c:v>161.93</c:v>
                </c:pt>
                <c:pt idx="962">
                  <c:v>162.4</c:v>
                </c:pt>
                <c:pt idx="963">
                  <c:v>162.24</c:v>
                </c:pt>
                <c:pt idx="964">
                  <c:v>162.96</c:v>
                </c:pt>
                <c:pt idx="965">
                  <c:v>162.66999999999999</c:v>
                </c:pt>
                <c:pt idx="966">
                  <c:v>162.88</c:v>
                </c:pt>
                <c:pt idx="967">
                  <c:v>163.69999999999999</c:v>
                </c:pt>
                <c:pt idx="968">
                  <c:v>164.29</c:v>
                </c:pt>
                <c:pt idx="969">
                  <c:v>164.98</c:v>
                </c:pt>
                <c:pt idx="970">
                  <c:v>165.49</c:v>
                </c:pt>
                <c:pt idx="971">
                  <c:v>165.28</c:v>
                </c:pt>
                <c:pt idx="972">
                  <c:v>164.55</c:v>
                </c:pt>
                <c:pt idx="973">
                  <c:v>164.96</c:v>
                </c:pt>
                <c:pt idx="974">
                  <c:v>164.4</c:v>
                </c:pt>
                <c:pt idx="975">
                  <c:v>164.88</c:v>
                </c:pt>
                <c:pt idx="976">
                  <c:v>165.4</c:v>
                </c:pt>
                <c:pt idx="977">
                  <c:v>165.74</c:v>
                </c:pt>
                <c:pt idx="978">
                  <c:v>166.3</c:v>
                </c:pt>
                <c:pt idx="979">
                  <c:v>165.98</c:v>
                </c:pt>
                <c:pt idx="980">
                  <c:v>165.13</c:v>
                </c:pt>
                <c:pt idx="981">
                  <c:v>164.71</c:v>
                </c:pt>
                <c:pt idx="982">
                  <c:v>165.22</c:v>
                </c:pt>
                <c:pt idx="983">
                  <c:v>164.92</c:v>
                </c:pt>
                <c:pt idx="984">
                  <c:v>164.56</c:v>
                </c:pt>
                <c:pt idx="985">
                  <c:v>165.81</c:v>
                </c:pt>
                <c:pt idx="986">
                  <c:v>166.31</c:v>
                </c:pt>
                <c:pt idx="987">
                  <c:v>167.53</c:v>
                </c:pt>
                <c:pt idx="988">
                  <c:v>167.73</c:v>
                </c:pt>
                <c:pt idx="989">
                  <c:v>166.82</c:v>
                </c:pt>
                <c:pt idx="990">
                  <c:v>165.37</c:v>
                </c:pt>
                <c:pt idx="991">
                  <c:v>165.44</c:v>
                </c:pt>
                <c:pt idx="992">
                  <c:v>164.82</c:v>
                </c:pt>
                <c:pt idx="993">
                  <c:v>165</c:v>
                </c:pt>
                <c:pt idx="994">
                  <c:v>165.71</c:v>
                </c:pt>
                <c:pt idx="995">
                  <c:v>165.89</c:v>
                </c:pt>
                <c:pt idx="996">
                  <c:v>167.29</c:v>
                </c:pt>
                <c:pt idx="997">
                  <c:v>165.98</c:v>
                </c:pt>
                <c:pt idx="998">
                  <c:v>166.89</c:v>
                </c:pt>
                <c:pt idx="999">
                  <c:v>166.38</c:v>
                </c:pt>
                <c:pt idx="1000">
                  <c:v>168.07</c:v>
                </c:pt>
                <c:pt idx="1001">
                  <c:v>168.45</c:v>
                </c:pt>
                <c:pt idx="1002">
                  <c:v>168.58</c:v>
                </c:pt>
                <c:pt idx="1003">
                  <c:v>168.29</c:v>
                </c:pt>
                <c:pt idx="1004">
                  <c:v>168.21</c:v>
                </c:pt>
                <c:pt idx="1005">
                  <c:v>168.21</c:v>
                </c:pt>
                <c:pt idx="1006">
                  <c:v>168.25</c:v>
                </c:pt>
                <c:pt idx="1007">
                  <c:v>165.78</c:v>
                </c:pt>
                <c:pt idx="1008">
                  <c:v>164.35</c:v>
                </c:pt>
                <c:pt idx="1009">
                  <c:v>164.84</c:v>
                </c:pt>
                <c:pt idx="1010">
                  <c:v>164.3</c:v>
                </c:pt>
                <c:pt idx="1011">
                  <c:v>163.99</c:v>
                </c:pt>
                <c:pt idx="1012">
                  <c:v>163.27000000000001</c:v>
                </c:pt>
                <c:pt idx="1013">
                  <c:v>162.97999999999999</c:v>
                </c:pt>
                <c:pt idx="1014">
                  <c:v>164.45</c:v>
                </c:pt>
                <c:pt idx="1015">
                  <c:v>164.64</c:v>
                </c:pt>
                <c:pt idx="1016">
                  <c:v>165.31</c:v>
                </c:pt>
                <c:pt idx="1017">
                  <c:v>166.03</c:v>
                </c:pt>
                <c:pt idx="1018">
                  <c:v>165.88</c:v>
                </c:pt>
                <c:pt idx="1019">
                  <c:v>167.38</c:v>
                </c:pt>
                <c:pt idx="1020">
                  <c:v>168.7</c:v>
                </c:pt>
                <c:pt idx="1021">
                  <c:v>169.19</c:v>
                </c:pt>
                <c:pt idx="1022">
                  <c:v>169.84</c:v>
                </c:pt>
                <c:pt idx="1023">
                  <c:v>169.96</c:v>
                </c:pt>
                <c:pt idx="1024">
                  <c:v>171.33</c:v>
                </c:pt>
                <c:pt idx="1025">
                  <c:v>171.65</c:v>
                </c:pt>
                <c:pt idx="1026">
                  <c:v>171.85</c:v>
                </c:pt>
                <c:pt idx="1027">
                  <c:v>171.57</c:v>
                </c:pt>
                <c:pt idx="1028">
                  <c:v>172.02</c:v>
                </c:pt>
                <c:pt idx="1029">
                  <c:v>172.46</c:v>
                </c:pt>
                <c:pt idx="1030">
                  <c:v>172.56</c:v>
                </c:pt>
                <c:pt idx="1031">
                  <c:v>172.9</c:v>
                </c:pt>
                <c:pt idx="1032">
                  <c:v>174.84</c:v>
                </c:pt>
                <c:pt idx="1033">
                  <c:v>175.13</c:v>
                </c:pt>
                <c:pt idx="1034">
                  <c:v>174.63</c:v>
                </c:pt>
                <c:pt idx="1035">
                  <c:v>174</c:v>
                </c:pt>
                <c:pt idx="1036">
                  <c:v>174.24</c:v>
                </c:pt>
                <c:pt idx="1037">
                  <c:v>174.04</c:v>
                </c:pt>
                <c:pt idx="1038">
                  <c:v>173.36</c:v>
                </c:pt>
                <c:pt idx="1039">
                  <c:v>173.09</c:v>
                </c:pt>
                <c:pt idx="1040">
                  <c:v>173.54</c:v>
                </c:pt>
                <c:pt idx="1041">
                  <c:v>173.58</c:v>
                </c:pt>
                <c:pt idx="1042">
                  <c:v>174.84</c:v>
                </c:pt>
                <c:pt idx="1043">
                  <c:v>175.73</c:v>
                </c:pt>
                <c:pt idx="1044">
                  <c:v>174.63</c:v>
                </c:pt>
                <c:pt idx="1045">
                  <c:v>173.08</c:v>
                </c:pt>
                <c:pt idx="1046">
                  <c:v>174.69</c:v>
                </c:pt>
                <c:pt idx="1047">
                  <c:v>173.4</c:v>
                </c:pt>
                <c:pt idx="1048">
                  <c:v>174.63</c:v>
                </c:pt>
                <c:pt idx="1049">
                  <c:v>174.18</c:v>
                </c:pt>
                <c:pt idx="1050">
                  <c:v>174.56</c:v>
                </c:pt>
                <c:pt idx="1051">
                  <c:v>173.15</c:v>
                </c:pt>
                <c:pt idx="1052">
                  <c:v>171.13</c:v>
                </c:pt>
                <c:pt idx="1053">
                  <c:v>173.81</c:v>
                </c:pt>
                <c:pt idx="1054">
                  <c:v>173.54</c:v>
                </c:pt>
                <c:pt idx="1055">
                  <c:v>170.87</c:v>
                </c:pt>
                <c:pt idx="1056">
                  <c:v>171.24</c:v>
                </c:pt>
                <c:pt idx="1057">
                  <c:v>168.89</c:v>
                </c:pt>
                <c:pt idx="1058">
                  <c:v>167.35</c:v>
                </c:pt>
                <c:pt idx="1059">
                  <c:v>165.36</c:v>
                </c:pt>
                <c:pt idx="1060">
                  <c:v>165.24</c:v>
                </c:pt>
                <c:pt idx="1061">
                  <c:v>162.49</c:v>
                </c:pt>
                <c:pt idx="1062">
                  <c:v>161.9</c:v>
                </c:pt>
                <c:pt idx="1063">
                  <c:v>164.18</c:v>
                </c:pt>
                <c:pt idx="1064">
                  <c:v>165.35</c:v>
                </c:pt>
                <c:pt idx="1065">
                  <c:v>168.52</c:v>
                </c:pt>
                <c:pt idx="1066">
                  <c:v>169.08</c:v>
                </c:pt>
                <c:pt idx="1067">
                  <c:v>170.57</c:v>
                </c:pt>
                <c:pt idx="1068">
                  <c:v>171.12</c:v>
                </c:pt>
                <c:pt idx="1069">
                  <c:v>170.48</c:v>
                </c:pt>
                <c:pt idx="1070">
                  <c:v>171.75</c:v>
                </c:pt>
                <c:pt idx="1071">
                  <c:v>171.8</c:v>
                </c:pt>
                <c:pt idx="1072">
                  <c:v>173.99</c:v>
                </c:pt>
                <c:pt idx="1073">
                  <c:v>177.26</c:v>
                </c:pt>
                <c:pt idx="1074">
                  <c:v>176.91</c:v>
                </c:pt>
                <c:pt idx="1075">
                  <c:v>175.76</c:v>
                </c:pt>
                <c:pt idx="1076">
                  <c:v>177.79</c:v>
                </c:pt>
                <c:pt idx="1077">
                  <c:v>178.64</c:v>
                </c:pt>
                <c:pt idx="1078">
                  <c:v>178.9</c:v>
                </c:pt>
                <c:pt idx="1079">
                  <c:v>179.31</c:v>
                </c:pt>
                <c:pt idx="1080">
                  <c:v>179.8</c:v>
                </c:pt>
                <c:pt idx="1081">
                  <c:v>178.91</c:v>
                </c:pt>
                <c:pt idx="1082">
                  <c:v>179.15</c:v>
                </c:pt>
                <c:pt idx="1083">
                  <c:v>179.19</c:v>
                </c:pt>
                <c:pt idx="1084">
                  <c:v>179.25</c:v>
                </c:pt>
                <c:pt idx="1085">
                  <c:v>179.65</c:v>
                </c:pt>
                <c:pt idx="1086">
                  <c:v>179.15</c:v>
                </c:pt>
                <c:pt idx="1087">
                  <c:v>179.19</c:v>
                </c:pt>
                <c:pt idx="1088">
                  <c:v>182.27</c:v>
                </c:pt>
                <c:pt idx="1089">
                  <c:v>182.22</c:v>
                </c:pt>
                <c:pt idx="1090">
                  <c:v>181.83</c:v>
                </c:pt>
                <c:pt idx="1091">
                  <c:v>181.79</c:v>
                </c:pt>
                <c:pt idx="1092">
                  <c:v>182.15</c:v>
                </c:pt>
                <c:pt idx="1093">
                  <c:v>181.92</c:v>
                </c:pt>
                <c:pt idx="1094">
                  <c:v>180.84</c:v>
                </c:pt>
                <c:pt idx="1095">
                  <c:v>182.53</c:v>
                </c:pt>
                <c:pt idx="1096">
                  <c:v>184.12</c:v>
                </c:pt>
                <c:pt idx="1097">
                  <c:v>182.15</c:v>
                </c:pt>
                <c:pt idx="1098">
                  <c:v>184.43</c:v>
                </c:pt>
                <c:pt idx="1099">
                  <c:v>183.35</c:v>
                </c:pt>
                <c:pt idx="1100">
                  <c:v>180.85</c:v>
                </c:pt>
                <c:pt idx="1101">
                  <c:v>178.57</c:v>
                </c:pt>
                <c:pt idx="1102">
                  <c:v>179.11</c:v>
                </c:pt>
                <c:pt idx="1103">
                  <c:v>175.55</c:v>
                </c:pt>
                <c:pt idx="1104">
                  <c:v>173.97</c:v>
                </c:pt>
                <c:pt idx="1105">
                  <c:v>172.87</c:v>
                </c:pt>
                <c:pt idx="1106">
                  <c:v>176.1</c:v>
                </c:pt>
                <c:pt idx="1107">
                  <c:v>181.33</c:v>
                </c:pt>
                <c:pt idx="1108">
                  <c:v>182.71</c:v>
                </c:pt>
                <c:pt idx="1109">
                  <c:v>183.47</c:v>
                </c:pt>
                <c:pt idx="1110">
                  <c:v>184.71</c:v>
                </c:pt>
                <c:pt idx="1111">
                  <c:v>184.79</c:v>
                </c:pt>
                <c:pt idx="1112">
                  <c:v>185.55</c:v>
                </c:pt>
                <c:pt idx="1113">
                  <c:v>184.69</c:v>
                </c:pt>
                <c:pt idx="1114">
                  <c:v>184.47</c:v>
                </c:pt>
                <c:pt idx="1115">
                  <c:v>185.02</c:v>
                </c:pt>
                <c:pt idx="1116">
                  <c:v>182.93</c:v>
                </c:pt>
                <c:pt idx="1117">
                  <c:v>181.34</c:v>
                </c:pt>
                <c:pt idx="1118">
                  <c:v>183.94</c:v>
                </c:pt>
                <c:pt idx="1119">
                  <c:v>187.65</c:v>
                </c:pt>
                <c:pt idx="1120">
                  <c:v>185.91</c:v>
                </c:pt>
                <c:pt idx="1121">
                  <c:v>185.45</c:v>
                </c:pt>
                <c:pt idx="1122">
                  <c:v>186.24</c:v>
                </c:pt>
                <c:pt idx="1123">
                  <c:v>184.74</c:v>
                </c:pt>
                <c:pt idx="1124">
                  <c:v>187.67</c:v>
                </c:pt>
                <c:pt idx="1125">
                  <c:v>190.45</c:v>
                </c:pt>
                <c:pt idx="1126">
                  <c:v>189.08</c:v>
                </c:pt>
                <c:pt idx="1127">
                  <c:v>190.49</c:v>
                </c:pt>
                <c:pt idx="1128">
                  <c:v>191.27</c:v>
                </c:pt>
                <c:pt idx="1129">
                  <c:v>195.9</c:v>
                </c:pt>
                <c:pt idx="1130">
                  <c:v>198.53</c:v>
                </c:pt>
                <c:pt idx="1131">
                  <c:v>198.93</c:v>
                </c:pt>
                <c:pt idx="1132">
                  <c:v>195.72</c:v>
                </c:pt>
                <c:pt idx="1133">
                  <c:v>194.98</c:v>
                </c:pt>
                <c:pt idx="1134">
                  <c:v>195.57</c:v>
                </c:pt>
                <c:pt idx="1135">
                  <c:v>194.6</c:v>
                </c:pt>
                <c:pt idx="1136">
                  <c:v>195.44</c:v>
                </c:pt>
                <c:pt idx="1137">
                  <c:v>195.91</c:v>
                </c:pt>
                <c:pt idx="1138">
                  <c:v>196.46</c:v>
                </c:pt>
                <c:pt idx="1139">
                  <c:v>197.72</c:v>
                </c:pt>
                <c:pt idx="1140">
                  <c:v>198.4</c:v>
                </c:pt>
                <c:pt idx="1141">
                  <c:v>197.81</c:v>
                </c:pt>
                <c:pt idx="1142">
                  <c:v>199.33</c:v>
                </c:pt>
                <c:pt idx="1143">
                  <c:v>199.19</c:v>
                </c:pt>
                <c:pt idx="1144">
                  <c:v>200.38</c:v>
                </c:pt>
                <c:pt idx="1145">
                  <c:v>201.11</c:v>
                </c:pt>
                <c:pt idx="1146">
                  <c:v>201.17</c:v>
                </c:pt>
                <c:pt idx="1147">
                  <c:v>201.51</c:v>
                </c:pt>
                <c:pt idx="1148">
                  <c:v>202.76</c:v>
                </c:pt>
                <c:pt idx="1149">
                  <c:v>202.58</c:v>
                </c:pt>
                <c:pt idx="1150">
                  <c:v>203.84</c:v>
                </c:pt>
                <c:pt idx="1151">
                  <c:v>204.42</c:v>
                </c:pt>
                <c:pt idx="1152">
                  <c:v>205.28</c:v>
                </c:pt>
                <c:pt idx="1153">
                  <c:v>205.11</c:v>
                </c:pt>
                <c:pt idx="1154">
                  <c:v>207.4</c:v>
                </c:pt>
                <c:pt idx="1155">
                  <c:v>207.21</c:v>
                </c:pt>
                <c:pt idx="1156">
                  <c:v>208</c:v>
                </c:pt>
                <c:pt idx="1157">
                  <c:v>207.31</c:v>
                </c:pt>
                <c:pt idx="1158">
                  <c:v>208.61</c:v>
                </c:pt>
                <c:pt idx="1159">
                  <c:v>209.74</c:v>
                </c:pt>
                <c:pt idx="1160">
                  <c:v>210.46</c:v>
                </c:pt>
                <c:pt idx="1161">
                  <c:v>210.7</c:v>
                </c:pt>
                <c:pt idx="1162">
                  <c:v>209.91</c:v>
                </c:pt>
                <c:pt idx="1163">
                  <c:v>212.36</c:v>
                </c:pt>
                <c:pt idx="1164">
                  <c:v>213.81</c:v>
                </c:pt>
                <c:pt idx="1165">
                  <c:v>214.72</c:v>
                </c:pt>
                <c:pt idx="1166">
                  <c:v>216.01</c:v>
                </c:pt>
                <c:pt idx="1167">
                  <c:v>215.09</c:v>
                </c:pt>
                <c:pt idx="1168">
                  <c:v>216.43</c:v>
                </c:pt>
                <c:pt idx="1169">
                  <c:v>216.55</c:v>
                </c:pt>
                <c:pt idx="1170">
                  <c:v>215.99</c:v>
                </c:pt>
                <c:pt idx="1171">
                  <c:v>213.82</c:v>
                </c:pt>
                <c:pt idx="1172">
                  <c:v>213.57</c:v>
                </c:pt>
                <c:pt idx="1173">
                  <c:v>210.19</c:v>
                </c:pt>
                <c:pt idx="1174">
                  <c:v>210.06</c:v>
                </c:pt>
                <c:pt idx="1175">
                  <c:v>210.76</c:v>
                </c:pt>
                <c:pt idx="1176">
                  <c:v>213.43</c:v>
                </c:pt>
                <c:pt idx="1177">
                  <c:v>213.21</c:v>
                </c:pt>
                <c:pt idx="1178">
                  <c:v>212.51</c:v>
                </c:pt>
                <c:pt idx="1179">
                  <c:v>211.51</c:v>
                </c:pt>
                <c:pt idx="1180">
                  <c:v>213.74</c:v>
                </c:pt>
                <c:pt idx="1181">
                  <c:v>215.53</c:v>
                </c:pt>
                <c:pt idx="1182">
                  <c:v>218.49</c:v>
                </c:pt>
                <c:pt idx="1183">
                  <c:v>220.51</c:v>
                </c:pt>
                <c:pt idx="1184">
                  <c:v>220.71</c:v>
                </c:pt>
                <c:pt idx="1185">
                  <c:v>219.19</c:v>
                </c:pt>
                <c:pt idx="1186">
                  <c:v>221.36</c:v>
                </c:pt>
                <c:pt idx="1187">
                  <c:v>219.89</c:v>
                </c:pt>
                <c:pt idx="1188">
                  <c:v>216.24</c:v>
                </c:pt>
                <c:pt idx="1189">
                  <c:v>217.9</c:v>
                </c:pt>
                <c:pt idx="1190">
                  <c:v>218.65</c:v>
                </c:pt>
                <c:pt idx="1191">
                  <c:v>219.6</c:v>
                </c:pt>
                <c:pt idx="1192">
                  <c:v>218.71</c:v>
                </c:pt>
                <c:pt idx="1193">
                  <c:v>218.42</c:v>
                </c:pt>
                <c:pt idx="1194">
                  <c:v>218.34</c:v>
                </c:pt>
                <c:pt idx="1195">
                  <c:v>216.62</c:v>
                </c:pt>
                <c:pt idx="1196">
                  <c:v>212.44</c:v>
                </c:pt>
                <c:pt idx="1197">
                  <c:v>209.35</c:v>
                </c:pt>
                <c:pt idx="1198">
                  <c:v>210.01</c:v>
                </c:pt>
                <c:pt idx="1199">
                  <c:v>211.6</c:v>
                </c:pt>
                <c:pt idx="1200">
                  <c:v>209.11</c:v>
                </c:pt>
                <c:pt idx="1201">
                  <c:v>206.09</c:v>
                </c:pt>
                <c:pt idx="1202">
                  <c:v>207.47</c:v>
                </c:pt>
                <c:pt idx="1203">
                  <c:v>211.34</c:v>
                </c:pt>
                <c:pt idx="1204">
                  <c:v>212.08</c:v>
                </c:pt>
                <c:pt idx="1205">
                  <c:v>209.83</c:v>
                </c:pt>
                <c:pt idx="1206">
                  <c:v>208.63</c:v>
                </c:pt>
                <c:pt idx="1207">
                  <c:v>209.69</c:v>
                </c:pt>
                <c:pt idx="1208">
                  <c:v>209.08</c:v>
                </c:pt>
                <c:pt idx="1209">
                  <c:v>210.73</c:v>
                </c:pt>
                <c:pt idx="1210">
                  <c:v>214.64</c:v>
                </c:pt>
                <c:pt idx="1211">
                  <c:v>215.12</c:v>
                </c:pt>
                <c:pt idx="1212">
                  <c:v>215.56</c:v>
                </c:pt>
                <c:pt idx="1213">
                  <c:v>216.62</c:v>
                </c:pt>
                <c:pt idx="1214">
                  <c:v>216.67</c:v>
                </c:pt>
                <c:pt idx="1215">
                  <c:v>216.47</c:v>
                </c:pt>
                <c:pt idx="1216">
                  <c:v>218.4</c:v>
                </c:pt>
                <c:pt idx="1217">
                  <c:v>217.34</c:v>
                </c:pt>
                <c:pt idx="1218">
                  <c:v>215</c:v>
                </c:pt>
                <c:pt idx="1219">
                  <c:v>216.22</c:v>
                </c:pt>
                <c:pt idx="1220">
                  <c:v>212.25</c:v>
                </c:pt>
                <c:pt idx="1221">
                  <c:v>210.56</c:v>
                </c:pt>
                <c:pt idx="1222">
                  <c:v>208.58</c:v>
                </c:pt>
                <c:pt idx="1223">
                  <c:v>209.91</c:v>
                </c:pt>
                <c:pt idx="1224">
                  <c:v>207.22</c:v>
                </c:pt>
                <c:pt idx="1225">
                  <c:v>206.38</c:v>
                </c:pt>
                <c:pt idx="1226">
                  <c:v>208.28</c:v>
                </c:pt>
                <c:pt idx="1227">
                  <c:v>209.96</c:v>
                </c:pt>
                <c:pt idx="1228">
                  <c:v>208.28</c:v>
                </c:pt>
                <c:pt idx="1229">
                  <c:v>206.97</c:v>
                </c:pt>
                <c:pt idx="1230">
                  <c:v>208.07</c:v>
                </c:pt>
                <c:pt idx="1231">
                  <c:v>207.85</c:v>
                </c:pt>
                <c:pt idx="1232">
                  <c:v>206.93</c:v>
                </c:pt>
                <c:pt idx="1233">
                  <c:v>207.69</c:v>
                </c:pt>
                <c:pt idx="1234">
                  <c:v>208.98</c:v>
                </c:pt>
                <c:pt idx="1235">
                  <c:v>212.99</c:v>
                </c:pt>
                <c:pt idx="1236">
                  <c:v>211.79</c:v>
                </c:pt>
                <c:pt idx="1237">
                  <c:v>211.2</c:v>
                </c:pt>
                <c:pt idx="1238">
                  <c:v>211.6</c:v>
                </c:pt>
                <c:pt idx="1239">
                  <c:v>206.84</c:v>
                </c:pt>
                <c:pt idx="1240">
                  <c:v>206.8</c:v>
                </c:pt>
                <c:pt idx="1241">
                  <c:v>208.98</c:v>
                </c:pt>
                <c:pt idx="1242">
                  <c:v>208.93</c:v>
                </c:pt>
                <c:pt idx="1243">
                  <c:v>208.66</c:v>
                </c:pt>
                <c:pt idx="1244">
                  <c:v>207.31</c:v>
                </c:pt>
                <c:pt idx="1245">
                  <c:v>209.38</c:v>
                </c:pt>
                <c:pt idx="1246">
                  <c:v>204.81</c:v>
                </c:pt>
                <c:pt idx="1247">
                  <c:v>206.48</c:v>
                </c:pt>
                <c:pt idx="1248">
                  <c:v>207.18</c:v>
                </c:pt>
                <c:pt idx="1249">
                  <c:v>212.09</c:v>
                </c:pt>
                <c:pt idx="1250">
                  <c:v>213.56</c:v>
                </c:pt>
                <c:pt idx="1251">
                  <c:v>214.34</c:v>
                </c:pt>
                <c:pt idx="1252">
                  <c:v>217.04</c:v>
                </c:pt>
                <c:pt idx="1253">
                  <c:v>217.79</c:v>
                </c:pt>
                <c:pt idx="1254">
                  <c:v>217.8</c:v>
                </c:pt>
                <c:pt idx="1255">
                  <c:v>215.94</c:v>
                </c:pt>
                <c:pt idx="1256">
                  <c:v>215.38</c:v>
                </c:pt>
                <c:pt idx="1257">
                  <c:v>213.31</c:v>
                </c:pt>
                <c:pt idx="1258">
                  <c:v>211.56</c:v>
                </c:pt>
                <c:pt idx="1259">
                  <c:v>207.49</c:v>
                </c:pt>
                <c:pt idx="1260">
                  <c:v>210.24</c:v>
                </c:pt>
                <c:pt idx="1261">
                  <c:v>211.94</c:v>
                </c:pt>
                <c:pt idx="1262">
                  <c:v>212.31</c:v>
                </c:pt>
                <c:pt idx="1263">
                  <c:v>213.3</c:v>
                </c:pt>
                <c:pt idx="1264">
                  <c:v>213.3</c:v>
                </c:pt>
                <c:pt idx="1265">
                  <c:v>215.62</c:v>
                </c:pt>
                <c:pt idx="1266">
                  <c:v>213.6</c:v>
                </c:pt>
                <c:pt idx="1267">
                  <c:v>212.44</c:v>
                </c:pt>
                <c:pt idx="1268">
                  <c:v>213.96</c:v>
                </c:pt>
                <c:pt idx="1269">
                  <c:v>210.63</c:v>
                </c:pt>
                <c:pt idx="1270">
                  <c:v>207.07</c:v>
                </c:pt>
                <c:pt idx="1271">
                  <c:v>208.28</c:v>
                </c:pt>
                <c:pt idx="1272">
                  <c:v>208.89</c:v>
                </c:pt>
                <c:pt idx="1273">
                  <c:v>210.24</c:v>
                </c:pt>
                <c:pt idx="1274">
                  <c:v>210.49</c:v>
                </c:pt>
                <c:pt idx="1275">
                  <c:v>207.89</c:v>
                </c:pt>
                <c:pt idx="1276">
                  <c:v>201.88</c:v>
                </c:pt>
                <c:pt idx="1277">
                  <c:v>194.44</c:v>
                </c:pt>
                <c:pt idx="1278">
                  <c:v>183.07</c:v>
                </c:pt>
                <c:pt idx="1279">
                  <c:v>185.08</c:v>
                </c:pt>
                <c:pt idx="1280">
                  <c:v>188.92</c:v>
                </c:pt>
                <c:pt idx="1281">
                  <c:v>196.04</c:v>
                </c:pt>
                <c:pt idx="1282">
                  <c:v>196.92</c:v>
                </c:pt>
                <c:pt idx="1283">
                  <c:v>195.74</c:v>
                </c:pt>
                <c:pt idx="1284">
                  <c:v>189.58</c:v>
                </c:pt>
                <c:pt idx="1285">
                  <c:v>191.76</c:v>
                </c:pt>
                <c:pt idx="1286">
                  <c:v>194.97</c:v>
                </c:pt>
                <c:pt idx="1287">
                  <c:v>191.39</c:v>
                </c:pt>
                <c:pt idx="1288">
                  <c:v>191.04</c:v>
                </c:pt>
                <c:pt idx="1289">
                  <c:v>193.83</c:v>
                </c:pt>
                <c:pt idx="1290">
                  <c:v>194.52</c:v>
                </c:pt>
                <c:pt idx="1291">
                  <c:v>193.2</c:v>
                </c:pt>
                <c:pt idx="1292">
                  <c:v>192.31</c:v>
                </c:pt>
                <c:pt idx="1293">
                  <c:v>191.44</c:v>
                </c:pt>
                <c:pt idx="1294">
                  <c:v>193.28</c:v>
                </c:pt>
                <c:pt idx="1295">
                  <c:v>195.24</c:v>
                </c:pt>
                <c:pt idx="1296">
                  <c:v>194.84</c:v>
                </c:pt>
                <c:pt idx="1297">
                  <c:v>191.28</c:v>
                </c:pt>
                <c:pt idx="1298">
                  <c:v>194.16</c:v>
                </c:pt>
                <c:pt idx="1299">
                  <c:v>191.89</c:v>
                </c:pt>
                <c:pt idx="1300">
                  <c:v>191.24</c:v>
                </c:pt>
                <c:pt idx="1301">
                  <c:v>187.71</c:v>
                </c:pt>
                <c:pt idx="1302">
                  <c:v>190.6</c:v>
                </c:pt>
                <c:pt idx="1303">
                  <c:v>186.19</c:v>
                </c:pt>
                <c:pt idx="1304">
                  <c:v>184.71</c:v>
                </c:pt>
                <c:pt idx="1305">
                  <c:v>189.43</c:v>
                </c:pt>
              </c:numCache>
            </c:numRef>
          </c:val>
          <c:smooth val="0"/>
        </c:ser>
        <c:dLbls>
          <c:showLegendKey val="0"/>
          <c:showVal val="0"/>
          <c:showCatName val="0"/>
          <c:showSerName val="0"/>
          <c:showPercent val="0"/>
          <c:showBubbleSize val="0"/>
        </c:dLbls>
        <c:marker val="1"/>
        <c:smooth val="0"/>
        <c:axId val="204083968"/>
        <c:axId val="204085504"/>
      </c:lineChart>
      <c:catAx>
        <c:axId val="204083968"/>
        <c:scaling>
          <c:orientation val="minMax"/>
        </c:scaling>
        <c:delete val="0"/>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204085504"/>
        <c:crosses val="autoZero"/>
        <c:auto val="1"/>
        <c:lblAlgn val="ctr"/>
        <c:lblOffset val="100"/>
        <c:tickLblSkip val="300"/>
        <c:tickMarkSkip val="454"/>
        <c:noMultiLvlLbl val="1"/>
      </c:catAx>
      <c:valAx>
        <c:axId val="204085504"/>
        <c:scaling>
          <c:orientation val="minMax"/>
        </c:scaling>
        <c:delete val="0"/>
        <c:axPos val="l"/>
        <c:majorGridlines>
          <c:spPr>
            <a:ln w="12700" cmpd="sng">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204083968"/>
        <c:crosses val="autoZero"/>
        <c:crossBetween val="between"/>
      </c:valAx>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39621374304604345"/>
          <c:h val="0.84222440944881982"/>
        </c:manualLayout>
      </c:layout>
      <c:barChart>
        <c:barDir val="bar"/>
        <c:grouping val="clustered"/>
        <c:varyColors val="0"/>
        <c:ser>
          <c:idx val="0"/>
          <c:order val="0"/>
          <c:tx>
            <c:strRef>
              <c:f>Sheet0!$B$1</c:f>
              <c:strCache>
                <c:ptCount val="1"/>
              </c:strCache>
            </c:strRef>
          </c:tx>
          <c:spPr>
            <a:solidFill>
              <a:schemeClr val="accent1"/>
            </a:solidFill>
            <a:ln>
              <a:solidFill>
                <a:schemeClr val="accent1"/>
              </a:solidFill>
            </a:ln>
          </c:spPr>
          <c:invertIfNegative val="0"/>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0!$A$2:$A$11</c:f>
              <c:strCache>
                <c:ptCount val="10"/>
                <c:pt idx="0">
                  <c:v>Banks</c:v>
                </c:pt>
                <c:pt idx="1">
                  <c:v>Construction &amp; Materials</c:v>
                </c:pt>
                <c:pt idx="2">
                  <c:v>Real Estate</c:v>
                </c:pt>
                <c:pt idx="3">
                  <c:v>Media</c:v>
                </c:pt>
                <c:pt idx="4">
                  <c:v>Telecommunications</c:v>
                </c:pt>
                <c:pt idx="5">
                  <c:v>Retail</c:v>
                </c:pt>
                <c:pt idx="6">
                  <c:v>Oil &amp; Gas</c:v>
                </c:pt>
                <c:pt idx="7">
                  <c:v>Utilities</c:v>
                </c:pt>
                <c:pt idx="8">
                  <c:v>Industrial Goods &amp; Services</c:v>
                </c:pt>
                <c:pt idx="9">
                  <c:v>Insurance</c:v>
                </c:pt>
              </c:strCache>
            </c:strRef>
          </c:cat>
          <c:val>
            <c:numRef>
              <c:f>Sheet0!$B$2:$B$11</c:f>
              <c:numCache>
                <c:formatCode>0.00%</c:formatCode>
                <c:ptCount val="10"/>
                <c:pt idx="0">
                  <c:v>3.5487900000000003E-2</c:v>
                </c:pt>
                <c:pt idx="1">
                  <c:v>6.0732099999999997E-2</c:v>
                </c:pt>
                <c:pt idx="2">
                  <c:v>6.2931799999999996E-2</c:v>
                </c:pt>
                <c:pt idx="3">
                  <c:v>6.5231499999999998E-2</c:v>
                </c:pt>
                <c:pt idx="4">
                  <c:v>7.1349200000000002E-2</c:v>
                </c:pt>
                <c:pt idx="5">
                  <c:v>8.1669500000000006E-2</c:v>
                </c:pt>
                <c:pt idx="6">
                  <c:v>9.7142400000000004E-2</c:v>
                </c:pt>
                <c:pt idx="7">
                  <c:v>0.13275919999999999</c:v>
                </c:pt>
                <c:pt idx="8">
                  <c:v>0.13329340000000001</c:v>
                </c:pt>
                <c:pt idx="9">
                  <c:v>0.18670239999999999</c:v>
                </c:pt>
              </c:numCache>
            </c:numRef>
          </c:val>
        </c:ser>
        <c:dLbls>
          <c:showLegendKey val="0"/>
          <c:showVal val="0"/>
          <c:showCatName val="0"/>
          <c:showSerName val="0"/>
          <c:showPercent val="0"/>
          <c:showBubbleSize val="0"/>
        </c:dLbls>
        <c:gapWidth val="150"/>
        <c:axId val="231998592"/>
        <c:axId val="232000128"/>
      </c:barChart>
      <c:catAx>
        <c:axId val="231998592"/>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32000128"/>
        <c:crosses val="autoZero"/>
        <c:auto val="1"/>
        <c:lblAlgn val="ctr"/>
        <c:lblOffset val="100"/>
        <c:noMultiLvlLbl val="0"/>
      </c:catAx>
      <c:valAx>
        <c:axId val="232000128"/>
        <c:scaling>
          <c:orientation val="minMax"/>
        </c:scaling>
        <c:delete val="1"/>
        <c:axPos val="b"/>
        <c:numFmt formatCode="0.00%" sourceLinked="1"/>
        <c:majorTickMark val="out"/>
        <c:minorTickMark val="none"/>
        <c:tickLblPos val="none"/>
        <c:crossAx val="231998592"/>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085575933600841"/>
          <c:y val="5.0269935770223852E-2"/>
          <c:w val="0.4748163584202838"/>
          <c:h val="0.84222440944881982"/>
        </c:manualLayout>
      </c:layout>
      <c:barChart>
        <c:barDir val="bar"/>
        <c:grouping val="clustered"/>
        <c:varyColors val="0"/>
        <c:ser>
          <c:idx val="0"/>
          <c:order val="0"/>
          <c:tx>
            <c:strRef>
              <c:f>Sheet0!$B$1</c:f>
              <c:strCache>
                <c:ptCount val="1"/>
              </c:strCache>
            </c:strRef>
          </c:tx>
          <c:spPr>
            <a:solidFill>
              <a:schemeClr val="accent1"/>
            </a:solidFill>
            <a:ln>
              <a:solidFill>
                <a:schemeClr val="accent1"/>
              </a:solidFill>
            </a:ln>
          </c:spPr>
          <c:invertIfNegative val="0"/>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0!$A$2:$A$9</c:f>
              <c:strCache>
                <c:ptCount val="8"/>
                <c:pt idx="0">
                  <c:v>Spain</c:v>
                </c:pt>
                <c:pt idx="1">
                  <c:v>Belgium</c:v>
                </c:pt>
                <c:pt idx="2">
                  <c:v>Portugal</c:v>
                </c:pt>
                <c:pt idx="3">
                  <c:v>Finland</c:v>
                </c:pt>
                <c:pt idx="4">
                  <c:v>Netherlands</c:v>
                </c:pt>
                <c:pt idx="5">
                  <c:v>Italy</c:v>
                </c:pt>
                <c:pt idx="6">
                  <c:v>Germany</c:v>
                </c:pt>
                <c:pt idx="7">
                  <c:v>France</c:v>
                </c:pt>
              </c:strCache>
            </c:strRef>
          </c:cat>
          <c:val>
            <c:numRef>
              <c:f>Sheet0!$B$2:$B$9</c:f>
              <c:numCache>
                <c:formatCode>0.00%</c:formatCode>
                <c:ptCount val="8"/>
                <c:pt idx="0">
                  <c:v>3.5487900000000003E-2</c:v>
                </c:pt>
                <c:pt idx="1">
                  <c:v>4.1866300000000002E-2</c:v>
                </c:pt>
                <c:pt idx="2">
                  <c:v>4.7561300000000001E-2</c:v>
                </c:pt>
                <c:pt idx="3">
                  <c:v>0.1126336</c:v>
                </c:pt>
                <c:pt idx="4">
                  <c:v>0.11325440000000001</c:v>
                </c:pt>
                <c:pt idx="5">
                  <c:v>0.14286509999999999</c:v>
                </c:pt>
                <c:pt idx="6">
                  <c:v>0.20607919999999999</c:v>
                </c:pt>
                <c:pt idx="7">
                  <c:v>0.30025230000000003</c:v>
                </c:pt>
              </c:numCache>
            </c:numRef>
          </c:val>
        </c:ser>
        <c:dLbls>
          <c:showLegendKey val="0"/>
          <c:showVal val="0"/>
          <c:showCatName val="0"/>
          <c:showSerName val="0"/>
          <c:showPercent val="0"/>
          <c:showBubbleSize val="0"/>
        </c:dLbls>
        <c:gapWidth val="150"/>
        <c:axId val="232036608"/>
        <c:axId val="232046592"/>
      </c:barChart>
      <c:catAx>
        <c:axId val="232036608"/>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32046592"/>
        <c:crosses val="autoZero"/>
        <c:auto val="1"/>
        <c:lblAlgn val="ctr"/>
        <c:lblOffset val="100"/>
        <c:noMultiLvlLbl val="0"/>
      </c:catAx>
      <c:valAx>
        <c:axId val="232046592"/>
        <c:scaling>
          <c:orientation val="minMax"/>
        </c:scaling>
        <c:delete val="1"/>
        <c:axPos val="b"/>
        <c:numFmt formatCode="0.00%" sourceLinked="1"/>
        <c:majorTickMark val="out"/>
        <c:minorTickMark val="none"/>
        <c:tickLblPos val="none"/>
        <c:crossAx val="232036608"/>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16.11.2015</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3</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2845495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4466695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5361832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8288779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4620641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852477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5525876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543260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1229526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485149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394090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782946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798222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130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459961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3241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720423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5216074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9768150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1694318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438202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8759280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82047477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1801320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30055723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1385550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6418852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7181857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4875814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22936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16729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538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2402635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2429984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3016418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8376127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83731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08215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99761232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6135192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96804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0886512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2367345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04703469"/>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0593369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9046521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5365728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8005835"/>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91554498"/>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401985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6834485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641347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2368397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810642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457740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871137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0839338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4443451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6272788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60057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62136358"/>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570482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31239167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896717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006744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5321118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656769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62883190"/>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9250155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387851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35048851"/>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2845467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5931300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56734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6703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141189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5950336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5350400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13607238"/>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0497077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0289994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19892003"/>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19558749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068091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41450265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237225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850599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27058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21951860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899164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214985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70786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14337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930389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7126724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2127216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68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87627476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7519112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1392622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337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3220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942961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103612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2826331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8066441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230302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557608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4361777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87916028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478036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437433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jpe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image" Target="../media/image1.jpeg"/><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theme" Target="../theme/theme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image" Target="../media/image1.jpe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61" Type="http://schemas.openxmlformats.org/officeDocument/2006/relationships/theme" Target="../theme/theme3.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4"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3889" r:id="rId27"/>
    <p:sldLayoutId id="2147483663" r:id="rId28"/>
    <p:sldLayoutId id="2147483667" r:id="rId29"/>
    <p:sldLayoutId id="2147483677" r:id="rId30"/>
    <p:sldLayoutId id="2147483678" r:id="rId31"/>
    <p:sldLayoutId id="2147483784" r:id="rId32"/>
    <p:sldLayoutId id="2147483785" r:id="rId33"/>
    <p:sldLayoutId id="2147483786" r:id="rId34"/>
    <p:sldLayoutId id="2147483787"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60" r:id="rId53"/>
    <p:sldLayoutId id="2147483861" r:id="rId54"/>
    <p:sldLayoutId id="2147483908" r:id="rId55"/>
    <p:sldLayoutId id="2147483909" r:id="rId56"/>
    <p:sldLayoutId id="2147483910" r:id="rId57"/>
    <p:sldLayoutId id="2147483911" r:id="rId58"/>
    <p:sldLayoutId id="2147483912" r:id="rId59"/>
    <p:sldLayoutId id="2147483913" r:id="rId60"/>
    <p:sldLayoutId id="2147483914" r:id="rId61"/>
    <p:sldLayoutId id="2147483915" r:id="rId62"/>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366459260"/>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224"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2"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63309703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2" r:id="rId29"/>
    <p:sldLayoutId id="2147484193" r:id="rId30"/>
    <p:sldLayoutId id="2147484194" r:id="rId31"/>
    <p:sldLayoutId id="2147484195" r:id="rId32"/>
    <p:sldLayoutId id="2147484196" r:id="rId33"/>
    <p:sldLayoutId id="2147484197" r:id="rId34"/>
    <p:sldLayoutId id="2147484198" r:id="rId35"/>
    <p:sldLayoutId id="2147484199" r:id="rId36"/>
    <p:sldLayoutId id="2147484200" r:id="rId37"/>
    <p:sldLayoutId id="2147484201" r:id="rId38"/>
    <p:sldLayoutId id="2147484202" r:id="rId39"/>
    <p:sldLayoutId id="2147484203" r:id="rId40"/>
    <p:sldLayoutId id="2147484204" r:id="rId41"/>
    <p:sldLayoutId id="2147484205" r:id="rId42"/>
    <p:sldLayoutId id="2147484206" r:id="rId43"/>
    <p:sldLayoutId id="2147484207" r:id="rId44"/>
    <p:sldLayoutId id="2147484208" r:id="rId45"/>
    <p:sldLayoutId id="2147484209" r:id="rId46"/>
    <p:sldLayoutId id="2147484210" r:id="rId47"/>
    <p:sldLayoutId id="2147484211" r:id="rId48"/>
    <p:sldLayoutId id="2147484212" r:id="rId49"/>
    <p:sldLayoutId id="2147484213" r:id="rId50"/>
    <p:sldLayoutId id="2147484214" r:id="rId51"/>
    <p:sldLayoutId id="2147484215" r:id="rId52"/>
    <p:sldLayoutId id="2147484216" r:id="rId53"/>
    <p:sldLayoutId id="2147484217" r:id="rId54"/>
    <p:sldLayoutId id="2147484218" r:id="rId55"/>
    <p:sldLayoutId id="2147484219" r:id="rId56"/>
    <p:sldLayoutId id="2147484220" r:id="rId57"/>
    <p:sldLayoutId id="2147484221" r:id="rId58"/>
    <p:sldLayoutId id="2147484222" r:id="rId59"/>
    <p:sldLayoutId id="2147484223" r:id="rId60"/>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67.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xml"/><Relationship Id="rId1" Type="http://schemas.openxmlformats.org/officeDocument/2006/relationships/slideLayout" Target="../slideLayouts/slideLayout88.xml"/><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noChangeArrowheads="1"/>
          </p:cNvSpPr>
          <p:nvPr>
            <p:ph type="title"/>
          </p:nvPr>
        </p:nvSpPr>
        <p:spPr/>
        <p:txBody>
          <a:bodyPr>
            <a:normAutofit/>
          </a:bodyPr>
          <a:lstStyle/>
          <a:p>
            <a:r>
              <a:rPr lang="en-US" dirty="0" smtClean="0">
                <a:solidFill>
                  <a:schemeClr val="tx1"/>
                </a:solidFill>
              </a:rPr>
              <a:t>Risk and return overview</a:t>
            </a:r>
          </a:p>
        </p:txBody>
      </p:sp>
      <p:sp>
        <p:nvSpPr>
          <p:cNvPr id="85" name="Rectangle 2"/>
          <p:cNvSpPr>
            <a:spLocks noChangeArrowheads="1"/>
          </p:cNvSpPr>
          <p:nvPr/>
        </p:nvSpPr>
        <p:spPr bwMode="auto">
          <a:xfrm>
            <a:off x="365919"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Index</a:t>
            </a:r>
            <a:r>
              <a:rPr lang="en-US" sz="1600" baseline="30000" dirty="0" smtClean="0">
                <a:solidFill>
                  <a:schemeClr val="bg1"/>
                </a:solidFill>
              </a:rPr>
              <a:t>1)</a:t>
            </a:r>
            <a:endParaRPr lang="en-US" sz="1600" b="1" dirty="0">
              <a:solidFill>
                <a:schemeClr val="bg1"/>
              </a:solidFill>
            </a:endParaRPr>
          </a:p>
        </p:txBody>
      </p:sp>
      <p:sp>
        <p:nvSpPr>
          <p:cNvPr id="86" name="Rectangle 2"/>
          <p:cNvSpPr>
            <a:spLocks noChangeArrowheads="1"/>
          </p:cNvSpPr>
          <p:nvPr/>
        </p:nvSpPr>
        <p:spPr bwMode="auto">
          <a:xfrm>
            <a:off x="5157312" y="1837944"/>
            <a:ext cx="4362449"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Risk and return characteristics</a:t>
            </a:r>
            <a:r>
              <a:rPr lang="en-US" sz="1600" baseline="30000" dirty="0" smtClean="0">
                <a:solidFill>
                  <a:schemeClr val="bg1"/>
                </a:solidFill>
              </a:rPr>
              <a:t>1)</a:t>
            </a:r>
            <a:endParaRPr lang="en-US" sz="1600" baseline="30000" dirty="0">
              <a:solidFill>
                <a:schemeClr val="bg1"/>
              </a:solidFill>
            </a:endParaRPr>
          </a:p>
        </p:txBody>
      </p:sp>
      <p:sp>
        <p:nvSpPr>
          <p:cNvPr id="27" name="Rectangle 6"/>
          <p:cNvSpPr>
            <a:spLocks noChangeArrowheads="1"/>
          </p:cNvSpPr>
          <p:nvPr/>
        </p:nvSpPr>
        <p:spPr bwMode="auto">
          <a:xfrm>
            <a:off x="4264574" y="5859006"/>
            <a:ext cx="233850" cy="144463"/>
          </a:xfrm>
          <a:prstGeom prst="rect">
            <a:avLst/>
          </a:prstGeom>
          <a:solidFill>
            <a:schemeClr val="accent2"/>
          </a:solidFill>
          <a:ln w="9525" algn="ctr">
            <a:noFill/>
            <a:miter lim="800000"/>
            <a:headEnd/>
            <a:tailEnd/>
          </a:ln>
        </p:spPr>
        <p:txBody>
          <a:bodyPr wrap="none" lIns="365760" tIns="0" rIns="0" bIns="0" anchor="ctr"/>
          <a:lstStyle/>
          <a:p>
            <a:r>
              <a:rPr lang="en-US" sz="1000"/>
              <a:t>EURO STOXX® 
(EUR Gross Return) </a:t>
            </a:r>
          </a:p>
        </p:txBody>
      </p:sp>
      <p:sp>
        <p:nvSpPr>
          <p:cNvPr id="36" name="Text Box 150"/>
          <p:cNvSpPr txBox="1">
            <a:spLocks noChangeArrowheads="1"/>
          </p:cNvSpPr>
          <p:nvPr/>
        </p:nvSpPr>
        <p:spPr bwMode="auto">
          <a:xfrm>
            <a:off x="1657985" y="6334125"/>
            <a:ext cx="7680960" cy="461665"/>
          </a:xfrm>
          <a:prstGeom prst="rect">
            <a:avLst/>
          </a:prstGeom>
          <a:noFill/>
          <a:ln w="9525">
            <a:noFill/>
            <a:miter lim="800000"/>
            <a:headEnd/>
            <a:tailEnd/>
          </a:ln>
        </p:spPr>
        <p:txBody>
          <a:bodyPr lIns="0" tIns="0" rIns="0" bIns="0" anchor="t" anchorCtr="0">
            <a:spAutoFit/>
          </a:bodyPr>
          <a:lstStyle/>
          <a:p>
            <a:r>
              <a:rPr lang="en-US" sz="1000">
                <a:solidFill>
                  <a:srgbClr val="AFAFAF"/>
                </a:solidFill>
              </a:rPr>
              <a:t>1) STOXX data as of Sep. 30, 2015. Annualized returns and annualized volatility (standard deviation) figures are used
2) Euribor1m used as riskless asset to calculate Sharpe ratio
3) Computed for the period Aug. 31, 2010 to Sep. 30, 2015</a:t>
            </a:r>
          </a:p>
        </p:txBody>
      </p:sp>
      <p:sp>
        <p:nvSpPr>
          <p:cNvPr id="14" name="Rectangle 6"/>
          <p:cNvSpPr>
            <a:spLocks noChangeArrowheads="1"/>
          </p:cNvSpPr>
          <p:nvPr/>
        </p:nvSpPr>
        <p:spPr bwMode="auto">
          <a:xfrm>
            <a:off x="369717" y="5859007"/>
            <a:ext cx="233850" cy="144463"/>
          </a:xfrm>
          <a:prstGeom prst="rect">
            <a:avLst/>
          </a:prstGeom>
          <a:solidFill>
            <a:schemeClr val="accent1"/>
          </a:solidFill>
          <a:ln w="9525" algn="ctr">
            <a:noFill/>
            <a:miter lim="800000"/>
            <a:headEnd/>
            <a:tailEnd/>
          </a:ln>
        </p:spPr>
        <p:txBody>
          <a:bodyPr wrap="none" lIns="365760" tIns="0" rIns="0" bIns="0" anchor="ctr"/>
          <a:lstStyle/>
          <a:p>
            <a:r>
              <a:rPr lang="en-US" sz="1000"/>
              <a:t>EURO STOXX® Select Dividend 30 
(EUR Gross Return) </a:t>
            </a:r>
          </a:p>
        </p:txBody>
      </p:sp>
      <p:sp>
        <p:nvSpPr>
          <p:cNvPr id="10" name="Rectangle 6"/>
          <p:cNvSpPr>
            <a:spLocks noChangeArrowheads="1"/>
          </p:cNvSpPr>
          <p:nvPr/>
        </p:nvSpPr>
        <p:spPr bwMode="auto">
          <a:xfrm>
            <a:off x="7206113" y="5858432"/>
            <a:ext cx="233850" cy="144463"/>
          </a:xfrm>
          <a:prstGeom prst="rect">
            <a:avLst/>
          </a:prstGeom>
          <a:solidFill>
            <a:srgbClr val="665C8C"/>
          </a:solidFill>
          <a:ln w="9525" algn="ctr">
            <a:noFill/>
            <a:miter lim="800000"/>
            <a:headEnd/>
            <a:tailEnd/>
          </a:ln>
        </p:spPr>
        <p:txBody>
          <a:bodyPr wrap="none" lIns="365760" tIns="0" rIns="0" bIns="0" anchor="ctr"/>
          <a:lstStyle/>
          <a:p>
            <a:r>
              <a:rPr lang="en-US" sz="1000"/>
              <a:t>STOXX® Global 1800 
(EUR Gross Return) </a:t>
            </a:r>
          </a:p>
        </p:txBody>
      </p:sp>
      <p:graphicFrame>
        <p:nvGraphicFramePr>
          <p:cNvPr id="12" name="Group 62"/>
          <p:cNvGraphicFramePr>
            <a:graphicFrameLocks noGrp="1"/>
          </p:cNvGraphicFramePr>
          <p:nvPr>
            <p:custDataLst>
              <p:tags r:id="rId1"/>
            </p:custDataLst>
            <p:extLst>
              <p:ext uri="{D42A27DB-BD31-4B8C-83A1-F6EECF244321}">
                <p14:modId xmlns:p14="http://schemas.microsoft.com/office/powerpoint/2010/main" val="3072156153"/>
              </p:ext>
            </p:extLst>
          </p:nvPr>
        </p:nvGraphicFramePr>
        <p:xfrm>
          <a:off x="5157312" y="2225823"/>
          <a:ext cx="4370832" cy="3092377"/>
        </p:xfrm>
        <a:graphic>
          <a:graphicData uri="http://schemas.openxmlformats.org/drawingml/2006/table">
            <a:tbl>
              <a:tblPr>
                <a:tableStyleId>{616DA210-FB5B-4158-B5E0-FEB733F419BA}</a:tableStyleId>
              </a:tblPr>
              <a:tblGrid>
                <a:gridCol w="1564143"/>
                <a:gridCol w="935563"/>
                <a:gridCol w="935563"/>
                <a:gridCol w="935563"/>
              </a:tblGrid>
              <a:tr h="45962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D80F5F"/>
                          </a:solidFill>
                        </a:rPr>
                        <a:t>EURO STOXX® Select Dividend 30 </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14044E"/>
                          </a:solidFill>
                        </a:rPr>
                        <a:t>EURO STOXX®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665C8C"/>
                          </a:solidFill>
                        </a:rPr>
                        <a:t>STOXX® Global 1800 </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YTD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3.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5.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3.5%</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y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3.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3.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8.3%</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2.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3.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4.3%</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5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6.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7.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3.0%</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1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20.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21.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7.6%</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3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6.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6.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2.6%</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y </a:t>
                      </a: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8.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9.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3.0%</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y Sharpe ratio</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ximum drawdown</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3)</a:t>
                      </a:r>
                      <a:endParaRPr kumimoji="0" lang="en-US" sz="1000" b="0" i="0" u="none" strike="noStrike" kern="1200" cap="none" normalizeH="0" baseline="30000" noProof="0" dirty="0">
                        <a:ln>
                          <a:noFill/>
                        </a:ln>
                        <a:solidFill>
                          <a:schemeClr val="accent5"/>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rgbClr val="000000"/>
                          </a:solidFill>
                        </a:rPr>
                        <a:t>%</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rgbClr val="000000"/>
                          </a:solidFill>
                        </a:rPr>
                        <a:t>%</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rgbClr val="000000"/>
                          </a:solidFill>
                        </a:rPr>
                        <a:t>%</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3" name="TextBox 12"/>
          <p:cNvSpPr txBox="1"/>
          <p:nvPr/>
        </p:nvSpPr>
        <p:spPr>
          <a:xfrm>
            <a:off x="1137285" y="1863070"/>
            <a:ext cx="3368040" cy="233910"/>
          </a:xfrm>
          <a:prstGeom prst="rect">
            <a:avLst/>
          </a:prstGeom>
          <a:noFill/>
        </p:spPr>
        <p:txBody>
          <a:bodyPr wrap="square" lIns="0" tIns="0" rIns="0" bIns="0" rtlCol="0">
            <a:spAutoFit/>
          </a:bodyPr>
          <a:lstStyle/>
          <a:p>
            <a:r>
              <a:rPr lang="en-US" sz="1600" b="1">
                <a:solidFill>
                  <a:srgbClr val="FFFFFF"/>
                </a:solidFill>
              </a:rPr>
              <a:t>5y</a:t>
            </a:r>
          </a:p>
        </p:txBody>
      </p:sp>
      <p:graphicFrame>
        <p:nvGraphicFramePr>
          <p:cNvPr id="17" name="Object 9"/>
          <p:cNvGraphicFramePr>
            <a:graphicFrameLocks/>
          </p:cNvGraphicFramePr>
          <p:nvPr>
            <p:extLst>
              <p:ext uri="{D42A27DB-BD31-4B8C-83A1-F6EECF244321}">
                <p14:modId xmlns:p14="http://schemas.microsoft.com/office/powerpoint/2010/main" val="2423077270"/>
              </p:ext>
            </p:extLst>
          </p:nvPr>
        </p:nvGraphicFramePr>
        <p:xfrm>
          <a:off x="364300" y="2225820"/>
          <a:ext cx="4361688" cy="320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592036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dex fundamental characteristics and key figures</a:t>
            </a:r>
            <a:endParaRPr lang="en-GB" dirty="0">
              <a:solidFill>
                <a:schemeClr val="accent5"/>
              </a:solidFill>
            </a:endParaRPr>
          </a:p>
        </p:txBody>
      </p:sp>
      <p:sp>
        <p:nvSpPr>
          <p:cNvPr id="11" name="Rectangle 2"/>
          <p:cNvSpPr>
            <a:spLocks noChangeArrowheads="1"/>
          </p:cNvSpPr>
          <p:nvPr/>
        </p:nvSpPr>
        <p:spPr bwMode="auto">
          <a:xfrm>
            <a:off x="515401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1" dirty="0">
              <a:solidFill>
                <a:schemeClr val="bg1"/>
              </a:solidFill>
            </a:endParaRPr>
          </a:p>
        </p:txBody>
      </p:sp>
      <p:sp>
        <p:nvSpPr>
          <p:cNvPr id="14" name="Rectangle 2"/>
          <p:cNvSpPr>
            <a:spLocks noChangeArrowheads="1"/>
          </p:cNvSpPr>
          <p:nvPr/>
        </p:nvSpPr>
        <p:spPr bwMode="auto">
          <a:xfrm>
            <a:off x="3657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Index fundamentals</a:t>
            </a:r>
            <a:r>
              <a:rPr lang="en-US" sz="1600" baseline="30000" dirty="0" smtClean="0">
                <a:solidFill>
                  <a:schemeClr val="bg1"/>
                </a:solidFill>
              </a:rPr>
              <a:t>1)</a:t>
            </a:r>
            <a:endParaRPr lang="en-US" sz="1600" baseline="30000" dirty="0">
              <a:solidFill>
                <a:schemeClr val="bg1"/>
              </a:solidFill>
            </a:endParaRPr>
          </a:p>
        </p:txBody>
      </p:sp>
      <p:graphicFrame>
        <p:nvGraphicFramePr>
          <p:cNvPr id="16" name="Group 62"/>
          <p:cNvGraphicFramePr>
            <a:graphicFrameLocks noGrp="1"/>
          </p:cNvGraphicFramePr>
          <p:nvPr>
            <p:custDataLst>
              <p:tags r:id="rId1"/>
            </p:custDataLst>
            <p:extLst>
              <p:ext uri="{D42A27DB-BD31-4B8C-83A1-F6EECF244321}">
                <p14:modId xmlns:p14="http://schemas.microsoft.com/office/powerpoint/2010/main" val="3778208520"/>
              </p:ext>
            </p:extLst>
          </p:nvPr>
        </p:nvGraphicFramePr>
        <p:xfrm>
          <a:off x="360998" y="2225820"/>
          <a:ext cx="4370832" cy="2664984"/>
        </p:xfrm>
        <a:graphic>
          <a:graphicData uri="http://schemas.openxmlformats.org/drawingml/2006/table">
            <a:tbl>
              <a:tblPr>
                <a:tableStyleId>{616DA210-FB5B-4158-B5E0-FEB733F419BA}</a:tableStyleId>
              </a:tblPr>
              <a:tblGrid>
                <a:gridCol w="1629660"/>
                <a:gridCol w="913724"/>
                <a:gridCol w="913724"/>
                <a:gridCol w="913724"/>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D80F5F"/>
                          </a:solidFill>
                        </a:rPr>
                        <a:t>EURO STOXX® Select Dividend 30 </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14044E"/>
                          </a:solidFill>
                        </a:rPr>
                        <a:t>EURO STOXX®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665C8C"/>
                          </a:solidFill>
                        </a:rPr>
                        <a:t>STOXX® Global 1800 </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a:r>
                        <a:rPr lang="en-US" sz="1000">
                          <a:solidFill>
                            <a:srgbClr val="000000"/>
                          </a:solidFill>
                        </a:rPr>
                        <a:t>Gross dividend yield</a:t>
                      </a:r>
                      <a:r>
                        <a:rPr lang="en-US" sz="1000" baseline="30000"/>
                        <a:t>2)</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4.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3.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2.6%</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trailing)</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3.0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9.2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8.66</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projected)</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3.7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4.3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5.60</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book</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4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4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45</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sales</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8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8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88</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cash flow</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2.6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4.1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4.12</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8" name="Rectangle 6"/>
          <p:cNvSpPr>
            <a:spLocks noChangeArrowheads="1"/>
          </p:cNvSpPr>
          <p:nvPr/>
        </p:nvSpPr>
        <p:spPr bwMode="auto">
          <a:xfrm>
            <a:off x="4264574" y="5859006"/>
            <a:ext cx="233850" cy="144463"/>
          </a:xfrm>
          <a:prstGeom prst="rect">
            <a:avLst/>
          </a:prstGeom>
          <a:solidFill>
            <a:schemeClr val="accent2"/>
          </a:solidFill>
          <a:ln w="9525" algn="ctr">
            <a:noFill/>
            <a:miter lim="800000"/>
            <a:headEnd/>
            <a:tailEnd/>
          </a:ln>
        </p:spPr>
        <p:txBody>
          <a:bodyPr wrap="none" lIns="365760" tIns="0" rIns="0" bIns="0" anchor="ctr"/>
          <a:lstStyle/>
          <a:p>
            <a:r>
              <a:rPr lang="en-US" sz="1000"/>
              <a:t>EURO STOXX® 
(EUR Gross Return) </a:t>
            </a:r>
          </a:p>
        </p:txBody>
      </p:sp>
      <p:sp>
        <p:nvSpPr>
          <p:cNvPr id="21" name="Rectangle 6"/>
          <p:cNvSpPr>
            <a:spLocks noChangeArrowheads="1"/>
          </p:cNvSpPr>
          <p:nvPr/>
        </p:nvSpPr>
        <p:spPr bwMode="auto">
          <a:xfrm>
            <a:off x="7206113" y="5858432"/>
            <a:ext cx="233850" cy="144463"/>
          </a:xfrm>
          <a:prstGeom prst="rect">
            <a:avLst/>
          </a:prstGeom>
          <a:solidFill>
            <a:srgbClr val="665C8C"/>
          </a:solidFill>
          <a:ln w="9525" algn="ctr">
            <a:noFill/>
            <a:miter lim="800000"/>
            <a:headEnd/>
            <a:tailEnd/>
          </a:ln>
        </p:spPr>
        <p:txBody>
          <a:bodyPr wrap="none" lIns="365760" tIns="0" rIns="0" bIns="0" anchor="ctr"/>
          <a:lstStyle/>
          <a:p>
            <a:r>
              <a:rPr lang="en-US" sz="1000"/>
              <a:t>STOXX® Global 1800 
(EUR Gross Return) </a:t>
            </a:r>
          </a:p>
        </p:txBody>
      </p:sp>
      <p:graphicFrame>
        <p:nvGraphicFramePr>
          <p:cNvPr id="12" name="Group 62"/>
          <p:cNvGraphicFramePr>
            <a:graphicFrameLocks noGrp="1"/>
          </p:cNvGraphicFramePr>
          <p:nvPr>
            <p:custDataLst>
              <p:tags r:id="rId2"/>
            </p:custDataLst>
            <p:extLst>
              <p:ext uri="{D42A27DB-BD31-4B8C-83A1-F6EECF244321}">
                <p14:modId xmlns:p14="http://schemas.microsoft.com/office/powerpoint/2010/main" val="593816743"/>
              </p:ext>
            </p:extLst>
          </p:nvPr>
        </p:nvGraphicFramePr>
        <p:xfrm>
          <a:off x="5155597" y="2225820"/>
          <a:ext cx="4367879" cy="1484892"/>
        </p:xfrm>
        <a:graphic>
          <a:graphicData uri="http://schemas.openxmlformats.org/drawingml/2006/table">
            <a:tbl>
              <a:tblPr>
                <a:tableStyleId>{616DA210-FB5B-4158-B5E0-FEB733F419BA}</a:tableStyleId>
              </a:tblPr>
              <a:tblGrid>
                <a:gridCol w="1565878"/>
                <a:gridCol w="932688"/>
                <a:gridCol w="932688"/>
                <a:gridCol w="936625"/>
              </a:tblGrid>
              <a:tr h="45642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D80F5F"/>
                          </a:solidFill>
                        </a:rPr>
                        <a:t>EURO STOXX® Select Dividend 30 </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14044E"/>
                          </a:solidFill>
                        </a:rPr>
                        <a:t>EURO STOXX®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665C8C"/>
                          </a:solidFill>
                        </a:rPr>
                        <a:t>STOXX® Global 1800 </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umber of component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3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29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800</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a:r>
                        <a:rPr lang="en-US" sz="1000">
                          <a:solidFill>
                            <a:srgbClr val="000000"/>
                          </a:solidFill>
                        </a:rPr>
                        <a:t>Market cap (wgt. avg.) in EUR b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886.6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3394925.93</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27839246.33</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Turnover</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4)</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20.7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3.3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3.15%</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13" name="Group 62"/>
          <p:cNvGraphicFramePr>
            <a:graphicFrameLocks noGrp="1"/>
          </p:cNvGraphicFramePr>
          <p:nvPr>
            <p:custDataLst>
              <p:tags r:id="rId3"/>
            </p:custDataLst>
            <p:extLst>
              <p:ext uri="{D42A27DB-BD31-4B8C-83A1-F6EECF244321}">
                <p14:modId xmlns:p14="http://schemas.microsoft.com/office/powerpoint/2010/main" val="930095898"/>
              </p:ext>
            </p:extLst>
          </p:nvPr>
        </p:nvGraphicFramePr>
        <p:xfrm>
          <a:off x="5155597" y="4017240"/>
          <a:ext cx="4362135" cy="1477695"/>
        </p:xfrm>
        <a:graphic>
          <a:graphicData uri="http://schemas.openxmlformats.org/drawingml/2006/table">
            <a:tbl>
              <a:tblPr>
                <a:tableStyleId>{616DA210-FB5B-4158-B5E0-FEB733F419BA}</a:tableStyleId>
              </a:tblPr>
              <a:tblGrid>
                <a:gridCol w="2497741"/>
                <a:gridCol w="932688"/>
                <a:gridCol w="931706"/>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14044E"/>
                          </a:solidFill>
                        </a:rPr>
                        <a:t>vs EURO STOXX® </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665C8C"/>
                          </a:solidFill>
                        </a:rPr>
                        <a:t>vs STOXX® Global 1800 </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Correlation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0.9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0.96</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racking error (3y)</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0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05</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ta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9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92</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5" name="Text Box 150"/>
          <p:cNvSpPr txBox="1">
            <a:spLocks noChangeArrowheads="1"/>
          </p:cNvSpPr>
          <p:nvPr/>
        </p:nvSpPr>
        <p:spPr bwMode="auto">
          <a:xfrm>
            <a:off x="1656398" y="6334125"/>
            <a:ext cx="7680960" cy="461665"/>
          </a:xfrm>
          <a:prstGeom prst="rect">
            <a:avLst/>
          </a:prstGeom>
          <a:noFill/>
          <a:ln w="9525">
            <a:noFill/>
            <a:miter lim="800000"/>
            <a:headEnd/>
            <a:tailEnd/>
          </a:ln>
        </p:spPr>
        <p:txBody>
          <a:bodyPr lIns="0" tIns="0" rIns="0" bIns="0" anchor="t" anchorCtr="0">
            <a:spAutoFit/>
          </a:bodyPr>
          <a:lstStyle/>
          <a:p>
            <a:r>
              <a:rPr lang="en-US" sz="1000">
                <a:solidFill>
                  <a:srgbClr val="AFAFAF"/>
                </a:solidFill>
              </a:rPr>
              <a:t>1) STOXX data as of Sep. 30, 2015 (2) Gross dividend yield is calculated as Gross return index return minus price index return
3) Including negative values. Trailing period is 12 months
4) Annualized turnover last four quarterly reviews</a:t>
            </a:r>
          </a:p>
        </p:txBody>
      </p:sp>
      <p:sp>
        <p:nvSpPr>
          <p:cNvPr id="17" name="Rectangle 6"/>
          <p:cNvSpPr>
            <a:spLocks noChangeArrowheads="1"/>
          </p:cNvSpPr>
          <p:nvPr/>
        </p:nvSpPr>
        <p:spPr bwMode="auto">
          <a:xfrm>
            <a:off x="369717" y="5859007"/>
            <a:ext cx="233850" cy="144463"/>
          </a:xfrm>
          <a:prstGeom prst="rect">
            <a:avLst/>
          </a:prstGeom>
          <a:solidFill>
            <a:schemeClr val="accent1"/>
          </a:solidFill>
          <a:ln w="9525" algn="ctr">
            <a:noFill/>
            <a:miter lim="800000"/>
            <a:headEnd/>
            <a:tailEnd/>
          </a:ln>
        </p:spPr>
        <p:txBody>
          <a:bodyPr wrap="none" lIns="365760" tIns="0" rIns="0" bIns="0" anchor="ctr"/>
          <a:lstStyle/>
          <a:p>
            <a:r>
              <a:rPr lang="en-US" sz="1000"/>
              <a:t>EURO STOXX® Select Dividend 30 
(EUR Gross Return) </a:t>
            </a:r>
          </a:p>
        </p:txBody>
      </p:sp>
    </p:spTree>
    <p:extLst>
      <p:ext uri="{BB962C8B-B14F-4D97-AF65-F5344CB8AC3E}">
        <p14:creationId xmlns:p14="http://schemas.microsoft.com/office/powerpoint/2010/main" val="34159257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656398" y="6331744"/>
            <a:ext cx="7680960" cy="146194"/>
          </a:xfrm>
          <a:prstGeom prst="rect">
            <a:avLst/>
          </a:prstGeom>
          <a:noFill/>
          <a:ln w="9525">
            <a:noFill/>
            <a:miter lim="800000"/>
            <a:headEnd/>
            <a:tailEnd/>
          </a:ln>
        </p:spPr>
        <p:txBody>
          <a:bodyPr lIns="0" tIns="0" rIns="0" bIns="0" anchor="t" anchorCtr="0">
            <a:spAutoFit/>
          </a:bodyPr>
          <a:lstStyle/>
          <a:p>
            <a:r>
              <a:rPr lang="en-US" sz="1000">
                <a:solidFill>
                  <a:srgbClr val="AFAFAF"/>
                </a:solidFill>
              </a:rPr>
              <a:t>1) STOXX data as of Sep. 30, 2015</a:t>
            </a:r>
          </a:p>
        </p:txBody>
      </p:sp>
      <p:sp>
        <p:nvSpPr>
          <p:cNvPr id="10" name="Title 1"/>
          <p:cNvSpPr>
            <a:spLocks noGrp="1"/>
          </p:cNvSpPr>
          <p:nvPr>
            <p:ph type="title"/>
          </p:nvPr>
        </p:nvSpPr>
        <p:spPr/>
        <p:txBody>
          <a:bodyPr/>
          <a:lstStyle/>
          <a:p>
            <a:r>
              <a:rPr lang="en-US" dirty="0"/>
              <a:t>Top 10 </a:t>
            </a:r>
            <a:r>
              <a:rPr lang="en-US" dirty="0" err="1" smtClean="0"/>
              <a:t>supersectors</a:t>
            </a:r>
            <a:r>
              <a:rPr lang="en-US" dirty="0" smtClean="0"/>
              <a:t> </a:t>
            </a:r>
            <a:r>
              <a:rPr lang="en-US" dirty="0"/>
              <a:t>and countries by weight</a:t>
            </a:r>
            <a:endParaRPr lang="en-GB" dirty="0"/>
          </a:p>
        </p:txBody>
      </p:sp>
      <p:sp>
        <p:nvSpPr>
          <p:cNvPr id="11" name="Rectangle 2"/>
          <p:cNvSpPr>
            <a:spLocks noChangeArrowheads="1"/>
          </p:cNvSpPr>
          <p:nvPr/>
        </p:nvSpPr>
        <p:spPr bwMode="auto">
          <a:xfrm>
            <a:off x="365760" y="1838381"/>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err="1">
                <a:solidFill>
                  <a:srgbClr val="FFFFFF"/>
                </a:solidFill>
              </a:rPr>
              <a:t>Supersector</a:t>
            </a:r>
            <a:r>
              <a:rPr lang="en-US" sz="1600" b="1" dirty="0">
                <a:solidFill>
                  <a:srgbClr val="FFFFFF"/>
                </a:solidFill>
              </a:rPr>
              <a:t>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sp>
        <p:nvSpPr>
          <p:cNvPr id="12" name="Rectangle 2"/>
          <p:cNvSpPr>
            <a:spLocks noChangeArrowheads="1"/>
          </p:cNvSpPr>
          <p:nvPr/>
        </p:nvSpPr>
        <p:spPr bwMode="auto">
          <a:xfrm>
            <a:off x="5152072" y="1838381"/>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18" name="Chart 17"/>
          <p:cNvGraphicFramePr/>
          <p:nvPr>
            <p:extLst>
              <p:ext uri="{D42A27DB-BD31-4B8C-83A1-F6EECF244321}">
                <p14:modId xmlns:p14="http://schemas.microsoft.com/office/powerpoint/2010/main" val="2494506838"/>
              </p:ext>
            </p:extLst>
          </p:nvPr>
        </p:nvGraphicFramePr>
        <p:xfrm>
          <a:off x="299259" y="2222778"/>
          <a:ext cx="5120466" cy="38417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p:nvPr>
            <p:extLst>
              <p:ext uri="{D42A27DB-BD31-4B8C-83A1-F6EECF244321}">
                <p14:modId xmlns:p14="http://schemas.microsoft.com/office/powerpoint/2010/main" val="3236360485"/>
              </p:ext>
            </p:extLst>
          </p:nvPr>
        </p:nvGraphicFramePr>
        <p:xfrm>
          <a:off x="4800600" y="2222778"/>
          <a:ext cx="4891866" cy="3841789"/>
        </p:xfrm>
        <a:graphic>
          <a:graphicData uri="http://schemas.openxmlformats.org/drawingml/2006/chart">
            <c:chart xmlns:c="http://schemas.openxmlformats.org/drawingml/2006/chart" xmlns:r="http://schemas.openxmlformats.org/officeDocument/2006/relationships" r:id="rId4"/>
          </a:graphicData>
        </a:graphic>
      </p:graphicFrame>
      <p:sp>
        <p:nvSpPr>
          <p:cNvPr id="8" name="Rectangle 6"/>
          <p:cNvSpPr>
            <a:spLocks noChangeArrowheads="1"/>
          </p:cNvSpPr>
          <p:nvPr/>
        </p:nvSpPr>
        <p:spPr bwMode="auto">
          <a:xfrm>
            <a:off x="3570117" y="5857758"/>
            <a:ext cx="233850" cy="144463"/>
          </a:xfrm>
          <a:prstGeom prst="rect">
            <a:avLst/>
          </a:prstGeom>
          <a:solidFill>
            <a:schemeClr val="accent1"/>
          </a:solidFill>
          <a:ln w="9525" algn="ctr">
            <a:noFill/>
            <a:miter lim="800000"/>
            <a:headEnd/>
            <a:tailEnd/>
          </a:ln>
        </p:spPr>
        <p:txBody>
          <a:bodyPr wrap="none" lIns="365760" tIns="0" rIns="0" bIns="0" anchor="ctr"/>
          <a:lstStyle/>
          <a:p>
            <a:r>
              <a:rPr lang="en-US" sz="1000"/>
              <a:t>EURO STOXX® Select Dividend 30 
(EUR Gross Return) </a:t>
            </a:r>
          </a:p>
        </p:txBody>
      </p:sp>
    </p:spTree>
    <p:extLst>
      <p:ext uri="{BB962C8B-B14F-4D97-AF65-F5344CB8AC3E}">
        <p14:creationId xmlns:p14="http://schemas.microsoft.com/office/powerpoint/2010/main" val="5924197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sp>
        <p:nvSpPr>
          <p:cNvPr id="9" name="Text Box 150"/>
          <p:cNvSpPr txBox="1">
            <a:spLocks noChangeArrowheads="1"/>
          </p:cNvSpPr>
          <p:nvPr/>
        </p:nvSpPr>
        <p:spPr bwMode="auto">
          <a:xfrm>
            <a:off x="1656397" y="6331744"/>
            <a:ext cx="7589520" cy="365760"/>
          </a:xfrm>
          <a:prstGeom prst="rect">
            <a:avLst/>
          </a:prstGeom>
          <a:noFill/>
          <a:ln w="9525">
            <a:noFill/>
            <a:miter lim="800000"/>
            <a:headEnd/>
            <a:tailEnd/>
          </a:ln>
        </p:spPr>
        <p:txBody>
          <a:bodyPr lIns="0" tIns="0" rIns="0" bIns="0" anchor="t" anchorCtr="0">
            <a:noAutofit/>
          </a:bodyPr>
          <a:lstStyle/>
          <a:p>
            <a:r>
              <a:rPr lang="en-US" sz="1000">
                <a:solidFill>
                  <a:srgbClr val="AFAFAF"/>
                </a:solidFill>
              </a:rPr>
              <a:t>1) STOXX data as of Sep. 30, 2015</a:t>
            </a:r>
          </a:p>
        </p:txBody>
      </p:sp>
      <p:graphicFrame>
        <p:nvGraphicFramePr>
          <p:cNvPr id="5" name="Group 62"/>
          <p:cNvGraphicFramePr>
            <a:graphicFrameLocks noGrp="1" noChangeAspect="1"/>
          </p:cNvGraphicFramePr>
          <p:nvPr>
            <p:custDataLst>
              <p:tags r:id="rId1"/>
            </p:custDataLst>
            <p:extLst>
              <p:ext uri="{D42A27DB-BD31-4B8C-83A1-F6EECF244321}">
                <p14:modId xmlns:p14="http://schemas.microsoft.com/office/powerpoint/2010/main" val="4060652664"/>
              </p:ext>
            </p:extLst>
          </p:nvPr>
        </p:nvGraphicFramePr>
        <p:xfrm>
          <a:off x="354134" y="1835356"/>
          <a:ext cx="9371491" cy="3996311"/>
        </p:xfrm>
        <a:graphic>
          <a:graphicData uri="http://schemas.openxmlformats.org/drawingml/2006/table">
            <a:tbl>
              <a:tblPr>
                <a:tableStyleId>{616DA210-FB5B-4158-B5E0-FEB733F419BA}</a:tableStyleId>
              </a:tblPr>
              <a:tblGrid>
                <a:gridCol w="2560516"/>
                <a:gridCol w="2438400"/>
                <a:gridCol w="1295400"/>
                <a:gridCol w="1781175"/>
                <a:gridCol w="1296000"/>
              </a:tblGrid>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Name</a:t>
                      </a:r>
                      <a:r>
                        <a:rPr kumimoji="0" lang="en-US" sz="1400" b="0" i="0" u="none" strike="noStrike" kern="1200" cap="none" normalizeH="0" baseline="30000" noProof="0" dirty="0" smtClean="0">
                          <a:ln>
                            <a:noFill/>
                          </a:ln>
                          <a:solidFill>
                            <a:schemeClr val="bg1"/>
                          </a:solidFill>
                          <a:effectLst/>
                          <a:latin typeface="Arial" panose="020B0604020202020204" pitchFamily="34" charset="0"/>
                          <a:ea typeface=""/>
                          <a:cs typeface="Arial" panose="020B0604020202020204" pitchFamily="34" charset="0"/>
                        </a:rPr>
                        <a:t>1)</a:t>
                      </a:r>
                      <a:endParaRPr kumimoji="0" lang="en-US" sz="1400" b="0" i="0" u="none" strike="noStrike" cap="none" normalizeH="0" baseline="30000" noProof="0" dirty="0" smtClean="0">
                        <a:ln>
                          <a:noFill/>
                        </a:ln>
                        <a:solidFill>
                          <a:schemeClr val="tx1"/>
                        </a:solidFill>
                        <a:effectLst/>
                        <a:latin typeface="Arial" charset="0"/>
                      </a:endParaRPr>
                    </a:p>
                  </a:txBody>
                  <a:tcPr marR="0" marT="0" marB="0" anchor="ctr" horzOverflow="overflow">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err="1" smtClean="0">
                          <a:ln>
                            <a:noFill/>
                          </a:ln>
                          <a:solidFill>
                            <a:schemeClr val="bg1"/>
                          </a:solidFill>
                          <a:effectLst/>
                          <a:latin typeface="Arial" panose="020B0604020202020204" pitchFamily="34" charset="0"/>
                          <a:ea typeface="+mn-ea"/>
                          <a:cs typeface="Arial" panose="020B0604020202020204" pitchFamily="34" charset="0"/>
                        </a:rPr>
                        <a:t>Supersector</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Coun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400" b="1">
                          <a:solidFill>
                            <a:srgbClr val="FFFFFF"/>
                          </a:solidFill>
                        </a:rPr>
                        <a:t>Market cap EUR bn</a:t>
                      </a: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Weight %</a:t>
                      </a:r>
                      <a:endParaRPr kumimoji="0" lang="en-US" sz="1400" b="1" i="0" u="none" strike="noStrike" kern="1200" cap="none" normalizeH="0" baseline="0" noProof="0" dirty="0">
                        <a:ln>
                          <a:noFill/>
                        </a:ln>
                        <a:solidFill>
                          <a:schemeClr val="bg1"/>
                        </a:solidFill>
                        <a:effectLst/>
                        <a:latin typeface="Arial" charset="0"/>
                        <a:ea typeface=""/>
                        <a:cs typeface=""/>
                      </a:endParaRPr>
                    </a:p>
                  </a:txBody>
                  <a:tcPr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270" indent="635"/>
                      <a:r>
                        <a:rPr lang="en-US" sz="1200">
                          <a:solidFill>
                            <a:srgbClr val="000000"/>
                          </a:solidFill>
                        </a:rPr>
                        <a:t>ENI</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Oil &amp; Ga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I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37.6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5.61</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270" indent="635"/>
                      <a:r>
                        <a:rPr lang="en-US" sz="1200">
                          <a:solidFill>
                            <a:srgbClr val="000000"/>
                          </a:solidFill>
                        </a:rPr>
                        <a:t>SNAM RETE GAS</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Utiliti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I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9.76</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5.43</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270" indent="635"/>
                      <a:r>
                        <a:rPr lang="en-US" sz="1200">
                          <a:solidFill>
                            <a:srgbClr val="000000"/>
                          </a:solidFill>
                        </a:rPr>
                        <a:t>EDP ENERGIAS DE PORTUGAL</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Utiliti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P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8.5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4.76</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SCOR</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Insuranc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FR</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5.67</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4.25</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PROXIMUS</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Telecommunication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B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4.33</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4.19</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TOTAL</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Oil &amp; Ga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FR</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97.06</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4.11</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VIVENDI</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Media</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FR</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24.7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4.09</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ALLIANZ</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Insuranc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D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64.09</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4.01</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AXA</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Insuranc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FR</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45.39</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3.60</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KESKO</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Retail</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FI</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2.16</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3.57</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heme/theme1.xml><?xml version="1.0" encoding="utf-8"?>
<a:theme xmlns:a="http://schemas.openxmlformats.org/drawingml/2006/main" name="STOXXEmbeddedTheme">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STOXX_ESG_ProductSlides">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8E0F9EA0-751D-40E2-9189-48DC6DFAE751}"/>
</file>

<file path=customXml/itemProps2.xml><?xml version="1.0" encoding="utf-8"?>
<ds:datastoreItem xmlns:ds="http://schemas.openxmlformats.org/officeDocument/2006/customXml" ds:itemID="{71663B46-B349-417C-A503-20B51DCB6F2A}"/>
</file>

<file path=customXml/itemProps3.xml><?xml version="1.0" encoding="utf-8"?>
<ds:datastoreItem xmlns:ds="http://schemas.openxmlformats.org/officeDocument/2006/customXml" ds:itemID="{E3C472D2-25C0-42AE-B806-3457E4C370EC}"/>
</file>

<file path=docProps/app.xml><?xml version="1.0" encoding="utf-8"?>
<Properties xmlns="http://schemas.openxmlformats.org/officeDocument/2006/extended-properties" xmlns:vt="http://schemas.openxmlformats.org/officeDocument/2006/docPropsVTypes">
  <Template>STOXXPresentations2.0</Template>
  <TotalTime>0</TotalTime>
  <Words>415</Words>
  <Application>Microsoft Office PowerPoint</Application>
  <PresentationFormat>A4 Paper (210x297 mm)</PresentationFormat>
  <Paragraphs>167</Paragraphs>
  <Slides>4</Slides>
  <Notes>1</Notes>
  <HiddenSlides>0</HiddenSlides>
  <MMClips>0</MMClips>
  <ScaleCrop>false</ScaleCrop>
  <HeadingPairs>
    <vt:vector size="4" baseType="variant">
      <vt:variant>
        <vt:lpstr>Theme</vt:lpstr>
      </vt:variant>
      <vt:variant>
        <vt:i4>3</vt:i4>
      </vt:variant>
      <vt:variant>
        <vt:lpstr>Slide Titles</vt:lpstr>
      </vt:variant>
      <vt:variant>
        <vt:i4>4</vt:i4>
      </vt:variant>
    </vt:vector>
  </HeadingPairs>
  <TitlesOfParts>
    <vt:vector size="7" baseType="lpstr">
      <vt:lpstr>STOXXEmbeddedTheme</vt:lpstr>
      <vt:lpstr>Template STOXX Presentations 2.0.</vt:lpstr>
      <vt:lpstr>STOXX_ESG_ProductSlides</vt:lpstr>
      <vt:lpstr>Risk and return overview</vt:lpstr>
      <vt:lpstr>Index fundamental characteristics and key figures</vt:lpstr>
      <vt:lpstr>Top 10 supersectors and countries by weight</vt:lpstr>
      <vt:lpstr>Top 10 components by weight</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Granell, Antonio</cp:lastModifiedBy>
  <cp:revision>319</cp:revision>
  <dcterms:created xsi:type="dcterms:W3CDTF">2014-05-26T13:36:56Z</dcterms:created>
  <dcterms:modified xsi:type="dcterms:W3CDTF">2015-11-16T16:3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